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theme/theme2.xml" ContentType="application/vnd.openxmlformats-officedocument.them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99" r:id="rId2"/>
  </p:sldMasterIdLst>
  <p:notesMasterIdLst>
    <p:notesMasterId r:id="rId11"/>
  </p:notesMasterIdLst>
  <p:sldIdLst>
    <p:sldId id="839" r:id="rId3"/>
    <p:sldId id="685" r:id="rId4"/>
    <p:sldId id="840" r:id="rId5"/>
    <p:sldId id="841" r:id="rId6"/>
    <p:sldId id="842" r:id="rId7"/>
    <p:sldId id="843" r:id="rId8"/>
    <p:sldId id="489" r:id="rId9"/>
    <p:sldId id="824" r:id="rId10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presentation" id="{FEA83BC7-3104-4454-94AB-D3053F29092E}">
          <p14:sldIdLst>
            <p14:sldId id="839"/>
            <p14:sldId id="685"/>
            <p14:sldId id="840"/>
            <p14:sldId id="841"/>
            <p14:sldId id="842"/>
            <p14:sldId id="843"/>
            <p14:sldId id="489"/>
            <p14:sldId id="824"/>
          </p14:sldIdLst>
        </p14:section>
        <p14:section name="templates" id="{25FDD2B2-70FA-45F6-8A0B-76534F8FB061}">
          <p14:sldIdLst/>
        </p14:section>
        <p14:section name="transitions" id="{12091F22-1B44-4DD6-815B-89F0B99D1980}">
          <p14:sldIdLst/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46866" autoAdjust="0"/>
    <p:restoredTop sz="94250" autoAdjust="0"/>
  </p:normalViewPr>
  <p:slideViewPr>
    <p:cSldViewPr snapToGrid="0">
      <p:cViewPr>
        <p:scale>
          <a:sx n="50" d="100"/>
          <a:sy n="50" d="100"/>
        </p:scale>
        <p:origin x="800" y="60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viewProps" Target="viewProp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3.xml"/><Relationship Id="rId15" Type="http://schemas.openxmlformats.org/officeDocument/2006/relationships/tableStyles" Target="tableStyles.xml"/><Relationship Id="rId10" Type="http://schemas.openxmlformats.org/officeDocument/2006/relationships/slide" Target="slides/slide8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5F27E7D-848C-4700-976D-C2907A523DF8}" type="datetimeFigureOut">
              <a:rPr lang="de-DE" smtClean="0"/>
              <a:t>22.10.2023</a:t>
            </a:fld>
            <a:endParaRPr lang="de-DE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2966941-9500-410E-8BA8-CDFE73336D91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6230613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54025" y="941388"/>
            <a:ext cx="6191250" cy="348297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3AA5C58-95B0-47FE-A224-91D2DA26BDB5}" type="slidenum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srgbClr val="002E3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de-DE" sz="800" b="0" i="0" u="none" strike="noStrike" kern="1200" cap="none" spc="0" normalizeH="0" baseline="0" noProof="0">
              <a:ln>
                <a:noFill/>
              </a:ln>
              <a:solidFill>
                <a:srgbClr val="002E3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2142371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2966941-9500-410E-8BA8-CDFE73336D91}" type="slidenum">
              <a:rPr lang="de-DE" smtClean="0"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1107052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>
              <a:lnSpc>
                <a:spcPct val="110000"/>
              </a:lnSpc>
              <a:spcBef>
                <a:spcPts val="600"/>
              </a:spcBef>
              <a:buClr>
                <a:schemeClr val="accent2"/>
              </a:buClr>
              <a:buSzPct val="110000"/>
            </a:pPr>
            <a:r>
              <a:rPr lang="en-US" sz="1200" dirty="0"/>
              <a:t>We split the Work in the categories</a:t>
            </a:r>
          </a:p>
          <a:p>
            <a:pPr algn="l">
              <a:lnSpc>
                <a:spcPct val="110000"/>
              </a:lnSpc>
              <a:spcBef>
                <a:spcPts val="600"/>
              </a:spcBef>
              <a:buClr>
                <a:schemeClr val="accent2"/>
              </a:buClr>
              <a:buSzPct val="110000"/>
            </a:pPr>
            <a:endParaRPr lang="en-US" sz="1200" dirty="0"/>
          </a:p>
          <a:p>
            <a:pPr>
              <a:lnSpc>
                <a:spcPct val="110000"/>
              </a:lnSpc>
              <a:spcBef>
                <a:spcPts val="600"/>
              </a:spcBef>
              <a:buClr>
                <a:schemeClr val="accent2"/>
              </a:buClr>
              <a:buSzPct val="110000"/>
            </a:pPr>
            <a:r>
              <a:rPr lang="en-US" sz="1200" dirty="0"/>
              <a:t>we worked in constant exchange with each other to achieve the best possible result 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2966941-9500-410E-8BA8-CDFE73336D91}" type="slidenum">
              <a:rPr lang="de-DE" smtClean="0"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6272084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54025" y="941388"/>
            <a:ext cx="6191250" cy="348297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3AA5C58-95B0-47FE-A224-91D2DA26BDB5}" type="slidenum">
              <a:rPr lang="de-DE" smtClean="0"/>
              <a:pPr/>
              <a:t>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4662895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2966941-9500-410E-8BA8-CDFE73336D91}" type="slidenum">
              <a:rPr lang="de-DE" smtClean="0"/>
              <a:t>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5480971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7.xml"/><Relationship Id="rId4" Type="http://schemas.openxmlformats.org/officeDocument/2006/relationships/image" Target="../media/image1.emf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9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2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1.emf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9A50A06-F1AD-43B0-B0C8-484379FAC66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336550" y="1411288"/>
            <a:ext cx="11520488" cy="3313112"/>
          </a:xfrm>
        </p:spPr>
        <p:txBody>
          <a:bodyPr rIns="0" bIns="144000" anchor="b"/>
          <a:lstStyle>
            <a:lvl1pPr algn="ctr">
              <a:defRPr sz="6600">
                <a:solidFill>
                  <a:schemeClr val="tx1"/>
                </a:solidFill>
              </a:defRPr>
            </a:lvl1pPr>
          </a:lstStyle>
          <a:p>
            <a:r>
              <a:rPr lang="de-DE" noProof="0" dirty="0"/>
              <a:t>Titel der </a:t>
            </a:r>
            <a:br>
              <a:rPr lang="de-DE" noProof="0" dirty="0"/>
            </a:br>
            <a:r>
              <a:rPr lang="de-DE" noProof="0" dirty="0"/>
              <a:t>Präsentation in </a:t>
            </a:r>
            <a:br>
              <a:rPr lang="de-DE" noProof="0" dirty="0"/>
            </a:br>
            <a:r>
              <a:rPr lang="de-DE" noProof="0" dirty="0"/>
              <a:t>maximal drei Zeil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95C52B9B-1FC0-4A8D-A22E-A6CDD9256294}"/>
              </a:ext>
            </a:extLst>
          </p:cNvPr>
          <p:cNvSpPr>
            <a:spLocks noGrp="1"/>
          </p:cNvSpPr>
          <p:nvPr>
            <p:ph type="subTitle" idx="1"/>
          </p:nvPr>
        </p:nvSpPr>
        <p:spPr bwMode="gray">
          <a:xfrm>
            <a:off x="3251684" y="5445000"/>
            <a:ext cx="5689116" cy="574675"/>
          </a:xfrm>
        </p:spPr>
        <p:txBody>
          <a:bodyPr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</a:defRPr>
            </a:lvl1pPr>
            <a:lvl2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accent1"/>
                </a:solidFill>
              </a:defRPr>
            </a:lvl2pPr>
            <a:lvl3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accent1"/>
                </a:solidFill>
              </a:defRPr>
            </a:lvl3pPr>
            <a:lvl4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accent1"/>
                </a:solidFill>
              </a:defRPr>
            </a:lvl4pPr>
            <a:lvl5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accent1"/>
                </a:solidFill>
              </a:defRPr>
            </a:lvl5pPr>
            <a:lvl6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accent1"/>
                </a:solidFill>
              </a:defRPr>
            </a:lvl6pPr>
            <a:lvl7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accent1"/>
                </a:solidFill>
              </a:defRPr>
            </a:lvl7pPr>
            <a:lvl8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accent1"/>
                </a:solidFill>
              </a:defRPr>
            </a:lvl8pPr>
            <a:lvl9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accent1"/>
                </a:solidFill>
              </a:defRPr>
            </a:lvl9pPr>
          </a:lstStyle>
          <a:p>
            <a:r>
              <a:rPr lang="en-US" noProof="0"/>
              <a:t>Click to edit Master subtitle style</a:t>
            </a:r>
            <a:endParaRPr lang="de-DE" noProof="0"/>
          </a:p>
        </p:txBody>
      </p:sp>
      <p:sp>
        <p:nvSpPr>
          <p:cNvPr id="12" name="Google Shape;192;p37">
            <a:extLst>
              <a:ext uri="{FF2B5EF4-FFF2-40B4-BE49-F238E27FC236}">
                <a16:creationId xmlns:a16="http://schemas.microsoft.com/office/drawing/2014/main" id="{A89D66A7-79C9-49DD-B8D8-7E63C48072E6}"/>
              </a:ext>
            </a:extLst>
          </p:cNvPr>
          <p:cNvSpPr/>
          <p:nvPr userDrawn="1"/>
        </p:nvSpPr>
        <p:spPr bwMode="gray">
          <a:xfrm>
            <a:off x="5232000" y="4868863"/>
            <a:ext cx="1731102" cy="142423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>
            <a:noFill/>
          </a:ln>
        </p:spPr>
        <p:txBody>
          <a:bodyPr spcFirstLastPara="1" wrap="square" lIns="91450" tIns="45700" rIns="91450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de-DE" sz="1800" noProof="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D9B8A9EC-5AE1-4C2A-BBEE-518EA4E035A1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/>
        <p:txBody>
          <a:bodyPr wrap="none"/>
          <a:lstStyle/>
          <a:p>
            <a:fld id="{4842854A-B14C-4FFC-AE20-3DD7D10E469F}" type="datetime1">
              <a:rPr lang="de-DE" noProof="0" smtClean="0"/>
              <a:t>22.10.2023</a:t>
            </a:fld>
            <a:endParaRPr lang="de-DE" sz="800" noProof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ABF6EECD-F0A5-46EC-82DC-A250C2AA7F6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pPr algn="ctr"/>
            <a:r>
              <a:rPr lang="de-DE" noProof="0"/>
              <a:t>Commerzbank AG, Max Mustermann, GM-C Brand Management 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03F6537-555F-452F-82FA-B188EF50AA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 wrap="none"/>
          <a:lstStyle/>
          <a:p>
            <a:fld id="{CAEFDB47-5D1C-45E7-8BD0-EF74349B00F7}" type="slidenum">
              <a:rPr lang="de-DE" noProof="0" smtClean="0"/>
              <a:pPr/>
              <a:t>‹#›</a:t>
            </a:fld>
            <a:endParaRPr lang="de-DE" b="1" noProof="0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75E3423C-7C63-F50A-C5F7-E220E7BCC40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tretch/>
        </p:blipFill>
        <p:spPr>
          <a:xfrm>
            <a:off x="5519739" y="521217"/>
            <a:ext cx="1153167" cy="7687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413455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x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2A91C57D-0163-4143-8F9B-841FA758B9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228388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2A91C57D-0163-4143-8F9B-841FA758B9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B791BBA6-21FB-476D-917A-6AD66B6FA606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de-DE" noProof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D5F01BF3-5E3B-4F8E-AB3B-E070AB6B021B}"/>
              </a:ext>
            </a:extLst>
          </p:cNvPr>
          <p:cNvSpPr>
            <a:spLocks noGrp="1"/>
          </p:cNvSpPr>
          <p:nvPr>
            <p:ph type="dt" sz="half" idx="20"/>
          </p:nvPr>
        </p:nvSpPr>
        <p:spPr bwMode="gray"/>
        <p:txBody>
          <a:bodyPr/>
          <a:lstStyle/>
          <a:p>
            <a:fld id="{5659092B-5EC5-45CE-A115-0F090189DDFE}" type="datetime1">
              <a:rPr lang="de-DE" noProof="0" smtClean="0"/>
              <a:t>22.10.2023</a:t>
            </a:fld>
            <a:endParaRPr lang="de-DE" sz="800" noProof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AC1E8F5-1397-40A5-BFBE-A95E21862C6B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 bwMode="gray"/>
        <p:txBody>
          <a:bodyPr/>
          <a:lstStyle/>
          <a:p>
            <a:pPr algn="ctr"/>
            <a:r>
              <a:rPr lang="de-DE" noProof="0"/>
              <a:t>Commerzbank AG, Max Mustermann, GM-C Brand Management 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6A15F1C2-5BA9-4DB4-96CD-50E2D6AFA0EE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 bwMode="gray"/>
        <p:txBody>
          <a:bodyPr/>
          <a:lstStyle/>
          <a:p>
            <a:fld id="{CAEFDB47-5D1C-45E7-8BD0-EF74349B00F7}" type="slidenum">
              <a:rPr lang="de-DE" noProof="0" smtClean="0"/>
              <a:pPr/>
              <a:t>‹#›</a:t>
            </a:fld>
            <a:endParaRPr lang="de-DE" b="1" noProof="0"/>
          </a:p>
        </p:txBody>
      </p:sp>
      <p:sp>
        <p:nvSpPr>
          <p:cNvPr id="10" name="Textplatzhalter 14">
            <a:extLst>
              <a:ext uri="{FF2B5EF4-FFF2-40B4-BE49-F238E27FC236}">
                <a16:creationId xmlns:a16="http://schemas.microsoft.com/office/drawing/2014/main" id="{CF5491CC-BC46-4FAF-8941-63A9EDD159F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>
          <a:xfrm>
            <a:off x="336550" y="1411288"/>
            <a:ext cx="3743325" cy="5041901"/>
          </a:xfrm>
        </p:spPr>
        <p:txBody>
          <a:bodyPr rIns="144000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de-DE" noProof="0"/>
          </a:p>
        </p:txBody>
      </p:sp>
      <p:sp>
        <p:nvSpPr>
          <p:cNvPr id="11" name="Textplatzhalter 14">
            <a:extLst>
              <a:ext uri="{FF2B5EF4-FFF2-40B4-BE49-F238E27FC236}">
                <a16:creationId xmlns:a16="http://schemas.microsoft.com/office/drawing/2014/main" id="{A815259B-F024-43CC-A198-7A0FD6349320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 bwMode="gray">
          <a:xfrm>
            <a:off x="4224338" y="1411288"/>
            <a:ext cx="3743325" cy="5041901"/>
          </a:xfrm>
        </p:spPr>
        <p:txBody>
          <a:bodyPr rIns="144000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de-DE" noProof="0"/>
          </a:p>
        </p:txBody>
      </p:sp>
      <p:sp>
        <p:nvSpPr>
          <p:cNvPr id="12" name="Textplatzhalter 14">
            <a:extLst>
              <a:ext uri="{FF2B5EF4-FFF2-40B4-BE49-F238E27FC236}">
                <a16:creationId xmlns:a16="http://schemas.microsoft.com/office/drawing/2014/main" id="{C7C123BB-7B12-4D15-B032-4C6DF2CDB1C2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 bwMode="gray">
          <a:xfrm>
            <a:off x="8113713" y="1411288"/>
            <a:ext cx="3743325" cy="5041901"/>
          </a:xfrm>
        </p:spPr>
        <p:txBody>
          <a:bodyPr rIns="144000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97488830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x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2A91C57D-0163-4143-8F9B-841FA758B9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855266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2A91C57D-0163-4143-8F9B-841FA758B9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B791BBA6-21FB-476D-917A-6AD66B6FA606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de-DE" noProof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D5F01BF3-5E3B-4F8E-AB3B-E070AB6B021B}"/>
              </a:ext>
            </a:extLst>
          </p:cNvPr>
          <p:cNvSpPr>
            <a:spLocks noGrp="1"/>
          </p:cNvSpPr>
          <p:nvPr>
            <p:ph type="dt" sz="half" idx="20"/>
          </p:nvPr>
        </p:nvSpPr>
        <p:spPr bwMode="gray"/>
        <p:txBody>
          <a:bodyPr/>
          <a:lstStyle/>
          <a:p>
            <a:fld id="{5659092B-5EC5-45CE-A115-0F090189DDFE}" type="datetime1">
              <a:rPr lang="de-DE" noProof="0" smtClean="0"/>
              <a:t>22.10.2023</a:t>
            </a:fld>
            <a:endParaRPr lang="de-DE" sz="800" noProof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AC1E8F5-1397-40A5-BFBE-A95E21862C6B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 bwMode="gray"/>
        <p:txBody>
          <a:bodyPr/>
          <a:lstStyle/>
          <a:p>
            <a:pPr algn="ctr"/>
            <a:r>
              <a:rPr lang="de-DE" noProof="0"/>
              <a:t>Commerzbank AG, Max Mustermann, GM-C Brand Management 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6A15F1C2-5BA9-4DB4-96CD-50E2D6AFA0EE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 bwMode="gray"/>
        <p:txBody>
          <a:bodyPr/>
          <a:lstStyle/>
          <a:p>
            <a:fld id="{CAEFDB47-5D1C-45E7-8BD0-EF74349B00F7}" type="slidenum">
              <a:rPr lang="de-DE" noProof="0" smtClean="0"/>
              <a:pPr/>
              <a:t>‹#›</a:t>
            </a:fld>
            <a:endParaRPr lang="de-DE" b="1" noProof="0"/>
          </a:p>
        </p:txBody>
      </p:sp>
      <p:sp>
        <p:nvSpPr>
          <p:cNvPr id="20" name="Textplatzhalter 14">
            <a:extLst>
              <a:ext uri="{FF2B5EF4-FFF2-40B4-BE49-F238E27FC236}">
                <a16:creationId xmlns:a16="http://schemas.microsoft.com/office/drawing/2014/main" id="{65C92D5E-BAAA-4905-80BA-1716901F5A3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>
          <a:xfrm>
            <a:off x="336550" y="1411289"/>
            <a:ext cx="3743325" cy="2449512"/>
          </a:xfrm>
        </p:spPr>
        <p:txBody>
          <a:bodyPr rIns="144000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de-DE" noProof="0"/>
          </a:p>
        </p:txBody>
      </p:sp>
      <p:sp>
        <p:nvSpPr>
          <p:cNvPr id="21" name="Textplatzhalter 14">
            <a:extLst>
              <a:ext uri="{FF2B5EF4-FFF2-40B4-BE49-F238E27FC236}">
                <a16:creationId xmlns:a16="http://schemas.microsoft.com/office/drawing/2014/main" id="{71B1F06B-EC08-416F-AAA1-411EE8FDAD01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 bwMode="gray">
          <a:xfrm>
            <a:off x="4224338" y="1411289"/>
            <a:ext cx="3743325" cy="2449512"/>
          </a:xfrm>
        </p:spPr>
        <p:txBody>
          <a:bodyPr rIns="144000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de-DE" noProof="0"/>
          </a:p>
        </p:txBody>
      </p:sp>
      <p:sp>
        <p:nvSpPr>
          <p:cNvPr id="22" name="Textplatzhalter 14">
            <a:extLst>
              <a:ext uri="{FF2B5EF4-FFF2-40B4-BE49-F238E27FC236}">
                <a16:creationId xmlns:a16="http://schemas.microsoft.com/office/drawing/2014/main" id="{FF263A0A-5B2A-46E3-96AF-64D01FB467F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 bwMode="gray">
          <a:xfrm>
            <a:off x="8113713" y="1411289"/>
            <a:ext cx="3743325" cy="2449512"/>
          </a:xfrm>
        </p:spPr>
        <p:txBody>
          <a:bodyPr rIns="144000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de-DE" noProof="0"/>
          </a:p>
        </p:txBody>
      </p:sp>
      <p:sp>
        <p:nvSpPr>
          <p:cNvPr id="23" name="Textplatzhalter 14">
            <a:extLst>
              <a:ext uri="{FF2B5EF4-FFF2-40B4-BE49-F238E27FC236}">
                <a16:creationId xmlns:a16="http://schemas.microsoft.com/office/drawing/2014/main" id="{F57CC67B-5299-44AE-9A67-0821F16B0255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 bwMode="gray">
          <a:xfrm>
            <a:off x="336550" y="4005263"/>
            <a:ext cx="3743325" cy="2449512"/>
          </a:xfrm>
        </p:spPr>
        <p:txBody>
          <a:bodyPr rIns="144000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de-DE" noProof="0"/>
          </a:p>
        </p:txBody>
      </p:sp>
      <p:sp>
        <p:nvSpPr>
          <p:cNvPr id="24" name="Textplatzhalter 14">
            <a:extLst>
              <a:ext uri="{FF2B5EF4-FFF2-40B4-BE49-F238E27FC236}">
                <a16:creationId xmlns:a16="http://schemas.microsoft.com/office/drawing/2014/main" id="{1C28694A-CE82-4FA0-A5F9-9E2D3E32D25E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 bwMode="gray">
          <a:xfrm>
            <a:off x="4224338" y="4005263"/>
            <a:ext cx="3743325" cy="2449512"/>
          </a:xfrm>
        </p:spPr>
        <p:txBody>
          <a:bodyPr rIns="144000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de-DE" noProof="0"/>
          </a:p>
        </p:txBody>
      </p:sp>
      <p:sp>
        <p:nvSpPr>
          <p:cNvPr id="25" name="Textplatzhalter 14">
            <a:extLst>
              <a:ext uri="{FF2B5EF4-FFF2-40B4-BE49-F238E27FC236}">
                <a16:creationId xmlns:a16="http://schemas.microsoft.com/office/drawing/2014/main" id="{5DC14125-2FF9-4F77-8D9A-CE2533E3801F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 bwMode="gray">
          <a:xfrm>
            <a:off x="8113713" y="4005263"/>
            <a:ext cx="3743325" cy="2449512"/>
          </a:xfrm>
        </p:spPr>
        <p:txBody>
          <a:bodyPr rIns="144000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367330088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Picture 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>
            <a:extLst>
              <a:ext uri="{FF2B5EF4-FFF2-40B4-BE49-F238E27FC236}">
                <a16:creationId xmlns:a16="http://schemas.microsoft.com/office/drawing/2014/main" id="{14416664-C59E-8502-134C-D6D3001EB238}"/>
              </a:ext>
            </a:extLst>
          </p:cNvPr>
          <p:cNvSpPr/>
          <p:nvPr userDrawn="1"/>
        </p:nvSpPr>
        <p:spPr bwMode="gray">
          <a:xfrm>
            <a:off x="11438361" y="239316"/>
            <a:ext cx="467915" cy="40124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lnSpc>
                <a:spcPct val="110000"/>
              </a:lnSpc>
              <a:spcBef>
                <a:spcPts val="600"/>
              </a:spcBef>
            </a:pPr>
            <a:endParaRPr lang="de-CH" sz="1200" b="1" dirty="0" err="1">
              <a:solidFill>
                <a:schemeClr val="bg1"/>
              </a:solidFill>
            </a:endParaRPr>
          </a:p>
        </p:txBody>
      </p:sp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3F34628A-9FDF-4CC5-8075-404915653DB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007626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3F34628A-9FDF-4CC5-8075-404915653DB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Bildplatzhalter 8">
            <a:extLst>
              <a:ext uri="{FF2B5EF4-FFF2-40B4-BE49-F238E27FC236}">
                <a16:creationId xmlns:a16="http://schemas.microsoft.com/office/drawing/2014/main" id="{6DB4EBAE-7EE0-4A7F-BCB2-9B2864E73D23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8112124" y="0"/>
            <a:ext cx="4079875" cy="6453188"/>
          </a:xfrm>
          <a:noFill/>
        </p:spPr>
        <p:txBody>
          <a:bodyPr lIns="0" tIns="0" rIns="0" bIns="576000" anchor="b"/>
          <a:lstStyle>
            <a:lvl1pPr marL="0" indent="0" algn="ctr">
              <a:buNone/>
              <a:defRPr sz="800">
                <a:solidFill>
                  <a:schemeClr val="accent4"/>
                </a:solidFill>
              </a:defRPr>
            </a:lvl1pPr>
          </a:lstStyle>
          <a:p>
            <a:r>
              <a:rPr lang="de-DE" noProof="0" dirty="0"/>
              <a:t>Fügen Sie ein Bild über Klicken auf das Symbol ein. </a:t>
            </a: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Alternativ kopieren Sie ein Bild in die Zwischenablage, </a:t>
            </a:r>
            <a:br>
              <a:rPr lang="de-DE" noProof="0" dirty="0"/>
            </a:br>
            <a:r>
              <a:rPr lang="de-DE" noProof="0" dirty="0"/>
              <a:t>wählen Sie den Platzhalter an und klicken Sie einfügen. </a:t>
            </a: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Achten Sie darauf, dass das Logo im Vordergrund ist und </a:t>
            </a:r>
            <a:br>
              <a:rPr lang="de-DE" noProof="0" dirty="0"/>
            </a:br>
            <a:r>
              <a:rPr lang="de-DE" noProof="0" dirty="0"/>
              <a:t>wählen Sie bei hellen Bildern Petrol als Logofarbe.</a:t>
            </a:r>
          </a:p>
        </p:txBody>
      </p:sp>
      <p:sp>
        <p:nvSpPr>
          <p:cNvPr id="12" name="SmartArt-Platzhalter 11">
            <a:extLst>
              <a:ext uri="{FF2B5EF4-FFF2-40B4-BE49-F238E27FC236}">
                <a16:creationId xmlns:a16="http://schemas.microsoft.com/office/drawing/2014/main" id="{90E25250-96E1-4A78-9EE6-8AD9112BF777}"/>
              </a:ext>
            </a:extLst>
          </p:cNvPr>
          <p:cNvSpPr>
            <a:spLocks noGrp="1"/>
          </p:cNvSpPr>
          <p:nvPr>
            <p:ph type="dgm" sz="quarter" idx="15"/>
          </p:nvPr>
        </p:nvSpPr>
        <p:spPr bwMode="gray">
          <a:xfrm>
            <a:off x="11522271" y="260351"/>
            <a:ext cx="332854" cy="288924"/>
          </a:xfrm>
          <a:custGeom>
            <a:avLst/>
            <a:gdLst>
              <a:gd name="connsiteX0" fmla="*/ 26189 w 332854"/>
              <a:gd name="connsiteY0" fmla="*/ 199375 h 288924"/>
              <a:gd name="connsiteX1" fmla="*/ 38755 w 332854"/>
              <a:gd name="connsiteY1" fmla="*/ 203399 h 288924"/>
              <a:gd name="connsiteX2" fmla="*/ 60872 w 332854"/>
              <a:gd name="connsiteY2" fmla="*/ 208430 h 288924"/>
              <a:gd name="connsiteX3" fmla="*/ 89523 w 332854"/>
              <a:gd name="connsiteY3" fmla="*/ 210442 h 288924"/>
              <a:gd name="connsiteX4" fmla="*/ 166428 w 332854"/>
              <a:gd name="connsiteY4" fmla="*/ 210442 h 288924"/>
              <a:gd name="connsiteX5" fmla="*/ 243335 w 332854"/>
              <a:gd name="connsiteY5" fmla="*/ 210442 h 288924"/>
              <a:gd name="connsiteX6" fmla="*/ 255398 w 332854"/>
              <a:gd name="connsiteY6" fmla="*/ 210442 h 288924"/>
              <a:gd name="connsiteX7" fmla="*/ 260927 w 332854"/>
              <a:gd name="connsiteY7" fmla="*/ 226542 h 288924"/>
              <a:gd name="connsiteX8" fmla="*/ 265953 w 332854"/>
              <a:gd name="connsiteY8" fmla="*/ 260752 h 288924"/>
              <a:gd name="connsiteX9" fmla="*/ 258916 w 332854"/>
              <a:gd name="connsiteY9" fmla="*/ 282384 h 288924"/>
              <a:gd name="connsiteX10" fmla="*/ 254895 w 332854"/>
              <a:gd name="connsiteY10" fmla="*/ 288924 h 288924"/>
              <a:gd name="connsiteX11" fmla="*/ 253513 w 332854"/>
              <a:gd name="connsiteY11" fmla="*/ 288924 h 288924"/>
              <a:gd name="connsiteX12" fmla="*/ 243837 w 332854"/>
              <a:gd name="connsiteY12" fmla="*/ 288924 h 288924"/>
              <a:gd name="connsiteX13" fmla="*/ 217573 w 332854"/>
              <a:gd name="connsiteY13" fmla="*/ 288924 h 288924"/>
              <a:gd name="connsiteX14" fmla="*/ 166428 w 332854"/>
              <a:gd name="connsiteY14" fmla="*/ 288924 h 288924"/>
              <a:gd name="connsiteX15" fmla="*/ 165046 w 332854"/>
              <a:gd name="connsiteY15" fmla="*/ 288924 h 288924"/>
              <a:gd name="connsiteX16" fmla="*/ 155370 w 332854"/>
              <a:gd name="connsiteY16" fmla="*/ 288924 h 288924"/>
              <a:gd name="connsiteX17" fmla="*/ 129106 w 332854"/>
              <a:gd name="connsiteY17" fmla="*/ 288924 h 288924"/>
              <a:gd name="connsiteX18" fmla="*/ 77962 w 332854"/>
              <a:gd name="connsiteY18" fmla="*/ 288924 h 288924"/>
              <a:gd name="connsiteX19" fmla="*/ 26189 w 332854"/>
              <a:gd name="connsiteY19" fmla="*/ 199375 h 288924"/>
              <a:gd name="connsiteX20" fmla="*/ 236869 w 332854"/>
              <a:gd name="connsiteY20" fmla="*/ 0 h 288924"/>
              <a:gd name="connsiteX21" fmla="*/ 237811 w 332854"/>
              <a:gd name="connsiteY21" fmla="*/ 0 h 288924"/>
              <a:gd name="connsiteX22" fmla="*/ 244408 w 332854"/>
              <a:gd name="connsiteY22" fmla="*/ 0 h 288924"/>
              <a:gd name="connsiteX23" fmla="*/ 332854 w 332854"/>
              <a:gd name="connsiteY23" fmla="*/ 153506 h 288924"/>
              <a:gd name="connsiteX24" fmla="*/ 281595 w 332854"/>
              <a:gd name="connsiteY24" fmla="*/ 243093 h 288924"/>
              <a:gd name="connsiteX25" fmla="*/ 279082 w 332854"/>
              <a:gd name="connsiteY25" fmla="*/ 230008 h 288924"/>
              <a:gd name="connsiteX26" fmla="*/ 272047 w 332854"/>
              <a:gd name="connsiteY26" fmla="*/ 208366 h 288924"/>
              <a:gd name="connsiteX27" fmla="*/ 259483 w 332854"/>
              <a:gd name="connsiteY27" fmla="*/ 182194 h 288924"/>
              <a:gd name="connsiteX28" fmla="*/ 221290 w 332854"/>
              <a:gd name="connsiteY28" fmla="*/ 115759 h 288924"/>
              <a:gd name="connsiteX29" fmla="*/ 182595 w 332854"/>
              <a:gd name="connsiteY29" fmla="*/ 49323 h 288924"/>
              <a:gd name="connsiteX30" fmla="*/ 176565 w 332854"/>
              <a:gd name="connsiteY30" fmla="*/ 38754 h 288924"/>
              <a:gd name="connsiteX31" fmla="*/ 187620 w 332854"/>
              <a:gd name="connsiteY31" fmla="*/ 25668 h 288924"/>
              <a:gd name="connsiteX32" fmla="*/ 214758 w 332854"/>
              <a:gd name="connsiteY32" fmla="*/ 4530 h 288924"/>
              <a:gd name="connsiteX33" fmla="*/ 236869 w 332854"/>
              <a:gd name="connsiteY33" fmla="*/ 0 h 288924"/>
              <a:gd name="connsiteX34" fmla="*/ 88490 w 332854"/>
              <a:gd name="connsiteY34" fmla="*/ 0 h 288924"/>
              <a:gd name="connsiteX35" fmla="*/ 90100 w 332854"/>
              <a:gd name="connsiteY35" fmla="*/ 0 h 288924"/>
              <a:gd name="connsiteX36" fmla="*/ 101374 w 332854"/>
              <a:gd name="connsiteY36" fmla="*/ 0 h 288924"/>
              <a:gd name="connsiteX37" fmla="*/ 131973 w 332854"/>
              <a:gd name="connsiteY37" fmla="*/ 0 h 288924"/>
              <a:gd name="connsiteX38" fmla="*/ 157539 w 332854"/>
              <a:gd name="connsiteY38" fmla="*/ 0 h 288924"/>
              <a:gd name="connsiteX39" fmla="*/ 191560 w 332854"/>
              <a:gd name="connsiteY39" fmla="*/ 0 h 288924"/>
              <a:gd name="connsiteX40" fmla="*/ 181504 w 332854"/>
              <a:gd name="connsiteY40" fmla="*/ 9059 h 288924"/>
              <a:gd name="connsiteX41" fmla="*/ 166421 w 332854"/>
              <a:gd name="connsiteY41" fmla="*/ 25666 h 288924"/>
              <a:gd name="connsiteX42" fmla="*/ 150332 w 332854"/>
              <a:gd name="connsiteY42" fmla="*/ 49319 h 288924"/>
              <a:gd name="connsiteX43" fmla="*/ 111617 w 332854"/>
              <a:gd name="connsiteY43" fmla="*/ 115748 h 288924"/>
              <a:gd name="connsiteX44" fmla="*/ 72903 w 332854"/>
              <a:gd name="connsiteY44" fmla="*/ 182178 h 288924"/>
              <a:gd name="connsiteX45" fmla="*/ 67373 w 332854"/>
              <a:gd name="connsiteY45" fmla="*/ 193250 h 288924"/>
              <a:gd name="connsiteX46" fmla="*/ 50278 w 332854"/>
              <a:gd name="connsiteY46" fmla="*/ 189727 h 288924"/>
              <a:gd name="connsiteX47" fmla="*/ 18603 w 332854"/>
              <a:gd name="connsiteY47" fmla="*/ 176643 h 288924"/>
              <a:gd name="connsiteX48" fmla="*/ 3520 w 332854"/>
              <a:gd name="connsiteY48" fmla="*/ 160035 h 288924"/>
              <a:gd name="connsiteX49" fmla="*/ 0 w 332854"/>
              <a:gd name="connsiteY49" fmla="*/ 153493 h 288924"/>
              <a:gd name="connsiteX50" fmla="*/ 2514 w 332854"/>
              <a:gd name="connsiteY50" fmla="*/ 148963 h 288924"/>
              <a:gd name="connsiteX51" fmla="*/ 88490 w 332854"/>
              <a:gd name="connsiteY51" fmla="*/ 0 h 2889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</a:cxnLst>
            <a:rect l="l" t="t" r="r" b="b"/>
            <a:pathLst>
              <a:path w="332854" h="288924">
                <a:moveTo>
                  <a:pt x="26189" y="199375"/>
                </a:moveTo>
                <a:cubicBezTo>
                  <a:pt x="29708" y="200884"/>
                  <a:pt x="34232" y="202394"/>
                  <a:pt x="38755" y="203399"/>
                </a:cubicBezTo>
                <a:cubicBezTo>
                  <a:pt x="44787" y="204909"/>
                  <a:pt x="57354" y="207927"/>
                  <a:pt x="60872" y="208430"/>
                </a:cubicBezTo>
                <a:cubicBezTo>
                  <a:pt x="72433" y="210442"/>
                  <a:pt x="82989" y="210442"/>
                  <a:pt x="89523" y="210442"/>
                </a:cubicBezTo>
                <a:cubicBezTo>
                  <a:pt x="89523" y="210442"/>
                  <a:pt x="89523" y="210442"/>
                  <a:pt x="166428" y="210442"/>
                </a:cubicBezTo>
                <a:cubicBezTo>
                  <a:pt x="166428" y="210442"/>
                  <a:pt x="166428" y="210442"/>
                  <a:pt x="243335" y="210442"/>
                </a:cubicBezTo>
                <a:cubicBezTo>
                  <a:pt x="246350" y="210442"/>
                  <a:pt x="250371" y="210442"/>
                  <a:pt x="255398" y="210442"/>
                </a:cubicBezTo>
                <a:cubicBezTo>
                  <a:pt x="257408" y="216480"/>
                  <a:pt x="260927" y="226038"/>
                  <a:pt x="260927" y="226542"/>
                </a:cubicBezTo>
                <a:cubicBezTo>
                  <a:pt x="265451" y="238616"/>
                  <a:pt x="266959" y="250186"/>
                  <a:pt x="265953" y="260752"/>
                </a:cubicBezTo>
                <a:cubicBezTo>
                  <a:pt x="264446" y="270814"/>
                  <a:pt x="260927" y="277857"/>
                  <a:pt x="258916" y="282384"/>
                </a:cubicBezTo>
                <a:lnTo>
                  <a:pt x="254895" y="288924"/>
                </a:lnTo>
                <a:lnTo>
                  <a:pt x="253513" y="288924"/>
                </a:lnTo>
                <a:lnTo>
                  <a:pt x="243837" y="288924"/>
                </a:lnTo>
                <a:lnTo>
                  <a:pt x="217573" y="288924"/>
                </a:lnTo>
                <a:lnTo>
                  <a:pt x="166428" y="288924"/>
                </a:lnTo>
                <a:lnTo>
                  <a:pt x="165046" y="288924"/>
                </a:lnTo>
                <a:lnTo>
                  <a:pt x="155370" y="288924"/>
                </a:lnTo>
                <a:lnTo>
                  <a:pt x="129106" y="288924"/>
                </a:lnTo>
                <a:lnTo>
                  <a:pt x="77962" y="288924"/>
                </a:lnTo>
                <a:cubicBezTo>
                  <a:pt x="77962" y="288924"/>
                  <a:pt x="77962" y="288924"/>
                  <a:pt x="26189" y="199375"/>
                </a:cubicBezTo>
                <a:close/>
                <a:moveTo>
                  <a:pt x="236869" y="0"/>
                </a:moveTo>
                <a:lnTo>
                  <a:pt x="237811" y="0"/>
                </a:lnTo>
                <a:lnTo>
                  <a:pt x="244408" y="0"/>
                </a:lnTo>
                <a:cubicBezTo>
                  <a:pt x="244408" y="0"/>
                  <a:pt x="244408" y="0"/>
                  <a:pt x="332854" y="153506"/>
                </a:cubicBezTo>
                <a:cubicBezTo>
                  <a:pt x="332854" y="153506"/>
                  <a:pt x="332854" y="153506"/>
                  <a:pt x="281595" y="243093"/>
                </a:cubicBezTo>
                <a:cubicBezTo>
                  <a:pt x="280590" y="239066"/>
                  <a:pt x="280088" y="234536"/>
                  <a:pt x="279082" y="230008"/>
                </a:cubicBezTo>
                <a:cubicBezTo>
                  <a:pt x="277072" y="223968"/>
                  <a:pt x="273053" y="211385"/>
                  <a:pt x="272047" y="208366"/>
                </a:cubicBezTo>
                <a:cubicBezTo>
                  <a:pt x="268026" y="197293"/>
                  <a:pt x="262499" y="188234"/>
                  <a:pt x="259483" y="182194"/>
                </a:cubicBezTo>
                <a:cubicBezTo>
                  <a:pt x="246418" y="159546"/>
                  <a:pt x="221290" y="115759"/>
                  <a:pt x="221290" y="115759"/>
                </a:cubicBezTo>
                <a:cubicBezTo>
                  <a:pt x="221290" y="115759"/>
                  <a:pt x="195661" y="71972"/>
                  <a:pt x="182595" y="49323"/>
                </a:cubicBezTo>
                <a:cubicBezTo>
                  <a:pt x="181088" y="46304"/>
                  <a:pt x="179078" y="42780"/>
                  <a:pt x="176565" y="38754"/>
                </a:cubicBezTo>
                <a:cubicBezTo>
                  <a:pt x="180585" y="33722"/>
                  <a:pt x="187118" y="26675"/>
                  <a:pt x="187620" y="25668"/>
                </a:cubicBezTo>
                <a:cubicBezTo>
                  <a:pt x="195661" y="16105"/>
                  <a:pt x="205209" y="9060"/>
                  <a:pt x="214758" y="4530"/>
                </a:cubicBezTo>
                <a:cubicBezTo>
                  <a:pt x="223804" y="1007"/>
                  <a:pt x="231844" y="0"/>
                  <a:pt x="236869" y="0"/>
                </a:cubicBezTo>
                <a:close/>
                <a:moveTo>
                  <a:pt x="88490" y="0"/>
                </a:moveTo>
                <a:lnTo>
                  <a:pt x="90100" y="0"/>
                </a:lnTo>
                <a:lnTo>
                  <a:pt x="101374" y="0"/>
                </a:lnTo>
                <a:lnTo>
                  <a:pt x="131973" y="0"/>
                </a:lnTo>
                <a:lnTo>
                  <a:pt x="157539" y="0"/>
                </a:lnTo>
                <a:lnTo>
                  <a:pt x="191560" y="0"/>
                </a:lnTo>
                <a:cubicBezTo>
                  <a:pt x="188040" y="2517"/>
                  <a:pt x="185024" y="5535"/>
                  <a:pt x="181504" y="9059"/>
                </a:cubicBezTo>
                <a:cubicBezTo>
                  <a:pt x="176980" y="13084"/>
                  <a:pt x="168934" y="22646"/>
                  <a:pt x="166421" y="25666"/>
                </a:cubicBezTo>
                <a:cubicBezTo>
                  <a:pt x="158879" y="34725"/>
                  <a:pt x="153349" y="43280"/>
                  <a:pt x="150332" y="49319"/>
                </a:cubicBezTo>
                <a:cubicBezTo>
                  <a:pt x="136756" y="71965"/>
                  <a:pt x="111617" y="115748"/>
                  <a:pt x="111617" y="115748"/>
                </a:cubicBezTo>
                <a:cubicBezTo>
                  <a:pt x="111617" y="115748"/>
                  <a:pt x="86479" y="159532"/>
                  <a:pt x="72903" y="182178"/>
                </a:cubicBezTo>
                <a:cubicBezTo>
                  <a:pt x="71395" y="185198"/>
                  <a:pt x="69886" y="188721"/>
                  <a:pt x="67373" y="193250"/>
                </a:cubicBezTo>
                <a:cubicBezTo>
                  <a:pt x="60837" y="191740"/>
                  <a:pt x="51284" y="190230"/>
                  <a:pt x="50278" y="189727"/>
                </a:cubicBezTo>
                <a:cubicBezTo>
                  <a:pt x="37709" y="187715"/>
                  <a:pt x="27150" y="183185"/>
                  <a:pt x="18603" y="176643"/>
                </a:cubicBezTo>
                <a:cubicBezTo>
                  <a:pt x="10558" y="170604"/>
                  <a:pt x="6033" y="164062"/>
                  <a:pt x="3520" y="160035"/>
                </a:cubicBezTo>
                <a:cubicBezTo>
                  <a:pt x="3520" y="160035"/>
                  <a:pt x="3520" y="160035"/>
                  <a:pt x="0" y="153493"/>
                </a:cubicBezTo>
                <a:cubicBezTo>
                  <a:pt x="0" y="153493"/>
                  <a:pt x="0" y="153493"/>
                  <a:pt x="2514" y="148963"/>
                </a:cubicBezTo>
                <a:cubicBezTo>
                  <a:pt x="2514" y="148963"/>
                  <a:pt x="2514" y="148963"/>
                  <a:pt x="88490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r>
              <a:rPr lang="en-US" noProof="0"/>
              <a:t>Click icon to add SmartArt graphic</a:t>
            </a:r>
            <a:endParaRPr lang="de-DE" noProof="0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359D8B67-F448-4FDD-984D-6E7554F5EF4A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336549" y="1"/>
            <a:ext cx="7631113" cy="1125538"/>
          </a:xfrm>
        </p:spPr>
        <p:txBody>
          <a:bodyPr vert="horz" rIns="0"/>
          <a:lstStyle/>
          <a:p>
            <a:r>
              <a:rPr lang="en-US" noProof="0"/>
              <a:t>Click to edit Master title style</a:t>
            </a:r>
            <a:endParaRPr lang="de-DE" noProof="0" dirty="0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221DA9E7-F5BE-4A84-8E7B-D736D9ED9355}"/>
              </a:ext>
            </a:extLst>
          </p:cNvPr>
          <p:cNvSpPr>
            <a:spLocks noGrp="1"/>
          </p:cNvSpPr>
          <p:nvPr>
            <p:ph type="dt" sz="half" idx="16"/>
          </p:nvPr>
        </p:nvSpPr>
        <p:spPr bwMode="gray"/>
        <p:txBody>
          <a:bodyPr/>
          <a:lstStyle/>
          <a:p>
            <a:fld id="{8224E9D3-4CC9-4995-B631-E90B94975326}" type="datetime1">
              <a:rPr lang="de-DE" noProof="0" smtClean="0"/>
              <a:t>22.10.2023</a:t>
            </a:fld>
            <a:endParaRPr lang="de-DE" sz="800" noProof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2384B9A-4174-4D9D-9EF8-E59B4C951536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 bwMode="gray"/>
        <p:txBody>
          <a:bodyPr/>
          <a:lstStyle/>
          <a:p>
            <a:pPr algn="ctr"/>
            <a:r>
              <a:rPr lang="de-DE" noProof="0"/>
              <a:t>Commerzbank AG, Max Mustermann, GM-C Brand Management 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61FA5FD0-3E85-4292-A0CE-868AE0007228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 bwMode="gray"/>
        <p:txBody>
          <a:bodyPr/>
          <a:lstStyle/>
          <a:p>
            <a:fld id="{CAEFDB47-5D1C-45E7-8BD0-EF74349B00F7}" type="slidenum">
              <a:rPr lang="de-DE" noProof="0" smtClean="0"/>
              <a:pPr/>
              <a:t>‹#›</a:t>
            </a:fld>
            <a:endParaRPr lang="de-DE" b="1" noProof="0"/>
          </a:p>
        </p:txBody>
      </p:sp>
      <p:sp>
        <p:nvSpPr>
          <p:cNvPr id="10" name="Textplatzhalter 14">
            <a:extLst>
              <a:ext uri="{FF2B5EF4-FFF2-40B4-BE49-F238E27FC236}">
                <a16:creationId xmlns:a16="http://schemas.microsoft.com/office/drawing/2014/main" id="{A18482F0-D25F-485F-A038-1D3375E1D7E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>
          <a:xfrm>
            <a:off x="336550" y="1411288"/>
            <a:ext cx="7631106" cy="5041901"/>
          </a:xfrm>
        </p:spPr>
        <p:txBody>
          <a:bodyPr rIns="144000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108049593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Picture 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ABBB560B-0F0C-3C0D-ADAA-8B8F02C3E863}"/>
              </a:ext>
            </a:extLst>
          </p:cNvPr>
          <p:cNvSpPr/>
          <p:nvPr userDrawn="1"/>
        </p:nvSpPr>
        <p:spPr bwMode="gray">
          <a:xfrm>
            <a:off x="11438361" y="239316"/>
            <a:ext cx="467915" cy="40124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lnSpc>
                <a:spcPct val="110000"/>
              </a:lnSpc>
              <a:spcBef>
                <a:spcPts val="600"/>
              </a:spcBef>
            </a:pPr>
            <a:endParaRPr lang="de-CH" sz="1200" b="1" dirty="0" err="1">
              <a:solidFill>
                <a:schemeClr val="bg1"/>
              </a:solidFill>
            </a:endParaRPr>
          </a:p>
        </p:txBody>
      </p:sp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3F34628A-9FDF-4CC5-8075-404915653DB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176701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3F34628A-9FDF-4CC5-8075-404915653DB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Bildplatzhalter 8">
            <a:extLst>
              <a:ext uri="{FF2B5EF4-FFF2-40B4-BE49-F238E27FC236}">
                <a16:creationId xmlns:a16="http://schemas.microsoft.com/office/drawing/2014/main" id="{6DB4EBAE-7EE0-4A7F-BCB2-9B2864E73D23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167438" y="0"/>
            <a:ext cx="6024562" cy="6453188"/>
          </a:xfrm>
          <a:noFill/>
        </p:spPr>
        <p:txBody>
          <a:bodyPr lIns="0" tIns="0" rIns="0" bIns="576000" anchor="b"/>
          <a:lstStyle>
            <a:lvl1pPr marL="0" indent="0" algn="ctr">
              <a:buNone/>
              <a:defRPr sz="800">
                <a:solidFill>
                  <a:schemeClr val="accent4"/>
                </a:solidFill>
              </a:defRPr>
            </a:lvl1pPr>
          </a:lstStyle>
          <a:p>
            <a:r>
              <a:rPr lang="de-DE" noProof="0"/>
              <a:t>Fügen Sie ein Bild über Klicken auf das Symbol ein. </a:t>
            </a:r>
            <a:br>
              <a:rPr lang="de-DE" noProof="0"/>
            </a:br>
            <a:br>
              <a:rPr lang="de-DE" noProof="0"/>
            </a:br>
            <a:r>
              <a:rPr lang="de-DE" noProof="0"/>
              <a:t>Alternativ kopieren Sie ein Bild in die Zwischenablage, </a:t>
            </a:r>
            <a:br>
              <a:rPr lang="de-DE" noProof="0"/>
            </a:br>
            <a:r>
              <a:rPr lang="de-DE" noProof="0"/>
              <a:t>wählen Sie den Platzhalter an und klicken Sie einfügen. </a:t>
            </a:r>
            <a:br>
              <a:rPr lang="de-DE" noProof="0"/>
            </a:br>
            <a:br>
              <a:rPr lang="de-DE" noProof="0"/>
            </a:br>
            <a:r>
              <a:rPr lang="de-DE" noProof="0"/>
              <a:t>Achten Sie darauf, dass das Logo im Vordergrund ist und </a:t>
            </a:r>
            <a:br>
              <a:rPr lang="de-DE" noProof="0"/>
            </a:br>
            <a:r>
              <a:rPr lang="de-DE" noProof="0"/>
              <a:t>wählen Sie bei hellen Bildern Petrol als Logofarbe.</a:t>
            </a:r>
          </a:p>
        </p:txBody>
      </p:sp>
      <p:sp>
        <p:nvSpPr>
          <p:cNvPr id="12" name="SmartArt-Platzhalter 11">
            <a:extLst>
              <a:ext uri="{FF2B5EF4-FFF2-40B4-BE49-F238E27FC236}">
                <a16:creationId xmlns:a16="http://schemas.microsoft.com/office/drawing/2014/main" id="{90E25250-96E1-4A78-9EE6-8AD9112BF777}"/>
              </a:ext>
            </a:extLst>
          </p:cNvPr>
          <p:cNvSpPr>
            <a:spLocks noGrp="1"/>
          </p:cNvSpPr>
          <p:nvPr>
            <p:ph type="dgm" sz="quarter" idx="15"/>
          </p:nvPr>
        </p:nvSpPr>
        <p:spPr bwMode="gray">
          <a:xfrm>
            <a:off x="11522271" y="260351"/>
            <a:ext cx="332854" cy="288924"/>
          </a:xfrm>
          <a:custGeom>
            <a:avLst/>
            <a:gdLst>
              <a:gd name="connsiteX0" fmla="*/ 26189 w 332854"/>
              <a:gd name="connsiteY0" fmla="*/ 199375 h 288924"/>
              <a:gd name="connsiteX1" fmla="*/ 38755 w 332854"/>
              <a:gd name="connsiteY1" fmla="*/ 203399 h 288924"/>
              <a:gd name="connsiteX2" fmla="*/ 60872 w 332854"/>
              <a:gd name="connsiteY2" fmla="*/ 208430 h 288924"/>
              <a:gd name="connsiteX3" fmla="*/ 89523 w 332854"/>
              <a:gd name="connsiteY3" fmla="*/ 210442 h 288924"/>
              <a:gd name="connsiteX4" fmla="*/ 166428 w 332854"/>
              <a:gd name="connsiteY4" fmla="*/ 210442 h 288924"/>
              <a:gd name="connsiteX5" fmla="*/ 243335 w 332854"/>
              <a:gd name="connsiteY5" fmla="*/ 210442 h 288924"/>
              <a:gd name="connsiteX6" fmla="*/ 255398 w 332854"/>
              <a:gd name="connsiteY6" fmla="*/ 210442 h 288924"/>
              <a:gd name="connsiteX7" fmla="*/ 260927 w 332854"/>
              <a:gd name="connsiteY7" fmla="*/ 226542 h 288924"/>
              <a:gd name="connsiteX8" fmla="*/ 265953 w 332854"/>
              <a:gd name="connsiteY8" fmla="*/ 260752 h 288924"/>
              <a:gd name="connsiteX9" fmla="*/ 258916 w 332854"/>
              <a:gd name="connsiteY9" fmla="*/ 282384 h 288924"/>
              <a:gd name="connsiteX10" fmla="*/ 254895 w 332854"/>
              <a:gd name="connsiteY10" fmla="*/ 288924 h 288924"/>
              <a:gd name="connsiteX11" fmla="*/ 253513 w 332854"/>
              <a:gd name="connsiteY11" fmla="*/ 288924 h 288924"/>
              <a:gd name="connsiteX12" fmla="*/ 243837 w 332854"/>
              <a:gd name="connsiteY12" fmla="*/ 288924 h 288924"/>
              <a:gd name="connsiteX13" fmla="*/ 217573 w 332854"/>
              <a:gd name="connsiteY13" fmla="*/ 288924 h 288924"/>
              <a:gd name="connsiteX14" fmla="*/ 166428 w 332854"/>
              <a:gd name="connsiteY14" fmla="*/ 288924 h 288924"/>
              <a:gd name="connsiteX15" fmla="*/ 165046 w 332854"/>
              <a:gd name="connsiteY15" fmla="*/ 288924 h 288924"/>
              <a:gd name="connsiteX16" fmla="*/ 155370 w 332854"/>
              <a:gd name="connsiteY16" fmla="*/ 288924 h 288924"/>
              <a:gd name="connsiteX17" fmla="*/ 129106 w 332854"/>
              <a:gd name="connsiteY17" fmla="*/ 288924 h 288924"/>
              <a:gd name="connsiteX18" fmla="*/ 77962 w 332854"/>
              <a:gd name="connsiteY18" fmla="*/ 288924 h 288924"/>
              <a:gd name="connsiteX19" fmla="*/ 26189 w 332854"/>
              <a:gd name="connsiteY19" fmla="*/ 199375 h 288924"/>
              <a:gd name="connsiteX20" fmla="*/ 236869 w 332854"/>
              <a:gd name="connsiteY20" fmla="*/ 0 h 288924"/>
              <a:gd name="connsiteX21" fmla="*/ 237811 w 332854"/>
              <a:gd name="connsiteY21" fmla="*/ 0 h 288924"/>
              <a:gd name="connsiteX22" fmla="*/ 244408 w 332854"/>
              <a:gd name="connsiteY22" fmla="*/ 0 h 288924"/>
              <a:gd name="connsiteX23" fmla="*/ 332854 w 332854"/>
              <a:gd name="connsiteY23" fmla="*/ 153506 h 288924"/>
              <a:gd name="connsiteX24" fmla="*/ 281595 w 332854"/>
              <a:gd name="connsiteY24" fmla="*/ 243093 h 288924"/>
              <a:gd name="connsiteX25" fmla="*/ 279082 w 332854"/>
              <a:gd name="connsiteY25" fmla="*/ 230008 h 288924"/>
              <a:gd name="connsiteX26" fmla="*/ 272047 w 332854"/>
              <a:gd name="connsiteY26" fmla="*/ 208366 h 288924"/>
              <a:gd name="connsiteX27" fmla="*/ 259483 w 332854"/>
              <a:gd name="connsiteY27" fmla="*/ 182194 h 288924"/>
              <a:gd name="connsiteX28" fmla="*/ 221290 w 332854"/>
              <a:gd name="connsiteY28" fmla="*/ 115759 h 288924"/>
              <a:gd name="connsiteX29" fmla="*/ 182595 w 332854"/>
              <a:gd name="connsiteY29" fmla="*/ 49323 h 288924"/>
              <a:gd name="connsiteX30" fmla="*/ 176565 w 332854"/>
              <a:gd name="connsiteY30" fmla="*/ 38754 h 288924"/>
              <a:gd name="connsiteX31" fmla="*/ 187620 w 332854"/>
              <a:gd name="connsiteY31" fmla="*/ 25668 h 288924"/>
              <a:gd name="connsiteX32" fmla="*/ 214758 w 332854"/>
              <a:gd name="connsiteY32" fmla="*/ 4530 h 288924"/>
              <a:gd name="connsiteX33" fmla="*/ 236869 w 332854"/>
              <a:gd name="connsiteY33" fmla="*/ 0 h 288924"/>
              <a:gd name="connsiteX34" fmla="*/ 88490 w 332854"/>
              <a:gd name="connsiteY34" fmla="*/ 0 h 288924"/>
              <a:gd name="connsiteX35" fmla="*/ 90100 w 332854"/>
              <a:gd name="connsiteY35" fmla="*/ 0 h 288924"/>
              <a:gd name="connsiteX36" fmla="*/ 101374 w 332854"/>
              <a:gd name="connsiteY36" fmla="*/ 0 h 288924"/>
              <a:gd name="connsiteX37" fmla="*/ 131973 w 332854"/>
              <a:gd name="connsiteY37" fmla="*/ 0 h 288924"/>
              <a:gd name="connsiteX38" fmla="*/ 157539 w 332854"/>
              <a:gd name="connsiteY38" fmla="*/ 0 h 288924"/>
              <a:gd name="connsiteX39" fmla="*/ 191560 w 332854"/>
              <a:gd name="connsiteY39" fmla="*/ 0 h 288924"/>
              <a:gd name="connsiteX40" fmla="*/ 181504 w 332854"/>
              <a:gd name="connsiteY40" fmla="*/ 9059 h 288924"/>
              <a:gd name="connsiteX41" fmla="*/ 166421 w 332854"/>
              <a:gd name="connsiteY41" fmla="*/ 25666 h 288924"/>
              <a:gd name="connsiteX42" fmla="*/ 150332 w 332854"/>
              <a:gd name="connsiteY42" fmla="*/ 49319 h 288924"/>
              <a:gd name="connsiteX43" fmla="*/ 111617 w 332854"/>
              <a:gd name="connsiteY43" fmla="*/ 115748 h 288924"/>
              <a:gd name="connsiteX44" fmla="*/ 72903 w 332854"/>
              <a:gd name="connsiteY44" fmla="*/ 182178 h 288924"/>
              <a:gd name="connsiteX45" fmla="*/ 67373 w 332854"/>
              <a:gd name="connsiteY45" fmla="*/ 193250 h 288924"/>
              <a:gd name="connsiteX46" fmla="*/ 50278 w 332854"/>
              <a:gd name="connsiteY46" fmla="*/ 189727 h 288924"/>
              <a:gd name="connsiteX47" fmla="*/ 18603 w 332854"/>
              <a:gd name="connsiteY47" fmla="*/ 176643 h 288924"/>
              <a:gd name="connsiteX48" fmla="*/ 3520 w 332854"/>
              <a:gd name="connsiteY48" fmla="*/ 160035 h 288924"/>
              <a:gd name="connsiteX49" fmla="*/ 0 w 332854"/>
              <a:gd name="connsiteY49" fmla="*/ 153493 h 288924"/>
              <a:gd name="connsiteX50" fmla="*/ 2514 w 332854"/>
              <a:gd name="connsiteY50" fmla="*/ 148963 h 288924"/>
              <a:gd name="connsiteX51" fmla="*/ 88490 w 332854"/>
              <a:gd name="connsiteY51" fmla="*/ 0 h 2889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</a:cxnLst>
            <a:rect l="l" t="t" r="r" b="b"/>
            <a:pathLst>
              <a:path w="332854" h="288924">
                <a:moveTo>
                  <a:pt x="26189" y="199375"/>
                </a:moveTo>
                <a:cubicBezTo>
                  <a:pt x="29708" y="200884"/>
                  <a:pt x="34232" y="202394"/>
                  <a:pt x="38755" y="203399"/>
                </a:cubicBezTo>
                <a:cubicBezTo>
                  <a:pt x="44787" y="204909"/>
                  <a:pt x="57354" y="207927"/>
                  <a:pt x="60872" y="208430"/>
                </a:cubicBezTo>
                <a:cubicBezTo>
                  <a:pt x="72433" y="210442"/>
                  <a:pt x="82989" y="210442"/>
                  <a:pt x="89523" y="210442"/>
                </a:cubicBezTo>
                <a:cubicBezTo>
                  <a:pt x="89523" y="210442"/>
                  <a:pt x="89523" y="210442"/>
                  <a:pt x="166428" y="210442"/>
                </a:cubicBezTo>
                <a:cubicBezTo>
                  <a:pt x="166428" y="210442"/>
                  <a:pt x="166428" y="210442"/>
                  <a:pt x="243335" y="210442"/>
                </a:cubicBezTo>
                <a:cubicBezTo>
                  <a:pt x="246350" y="210442"/>
                  <a:pt x="250371" y="210442"/>
                  <a:pt x="255398" y="210442"/>
                </a:cubicBezTo>
                <a:cubicBezTo>
                  <a:pt x="257408" y="216480"/>
                  <a:pt x="260927" y="226038"/>
                  <a:pt x="260927" y="226542"/>
                </a:cubicBezTo>
                <a:cubicBezTo>
                  <a:pt x="265451" y="238616"/>
                  <a:pt x="266959" y="250186"/>
                  <a:pt x="265953" y="260752"/>
                </a:cubicBezTo>
                <a:cubicBezTo>
                  <a:pt x="264446" y="270814"/>
                  <a:pt x="260927" y="277857"/>
                  <a:pt x="258916" y="282384"/>
                </a:cubicBezTo>
                <a:lnTo>
                  <a:pt x="254895" y="288924"/>
                </a:lnTo>
                <a:lnTo>
                  <a:pt x="253513" y="288924"/>
                </a:lnTo>
                <a:lnTo>
                  <a:pt x="243837" y="288924"/>
                </a:lnTo>
                <a:lnTo>
                  <a:pt x="217573" y="288924"/>
                </a:lnTo>
                <a:lnTo>
                  <a:pt x="166428" y="288924"/>
                </a:lnTo>
                <a:lnTo>
                  <a:pt x="165046" y="288924"/>
                </a:lnTo>
                <a:lnTo>
                  <a:pt x="155370" y="288924"/>
                </a:lnTo>
                <a:lnTo>
                  <a:pt x="129106" y="288924"/>
                </a:lnTo>
                <a:lnTo>
                  <a:pt x="77962" y="288924"/>
                </a:lnTo>
                <a:cubicBezTo>
                  <a:pt x="77962" y="288924"/>
                  <a:pt x="77962" y="288924"/>
                  <a:pt x="26189" y="199375"/>
                </a:cubicBezTo>
                <a:close/>
                <a:moveTo>
                  <a:pt x="236869" y="0"/>
                </a:moveTo>
                <a:lnTo>
                  <a:pt x="237811" y="0"/>
                </a:lnTo>
                <a:lnTo>
                  <a:pt x="244408" y="0"/>
                </a:lnTo>
                <a:cubicBezTo>
                  <a:pt x="244408" y="0"/>
                  <a:pt x="244408" y="0"/>
                  <a:pt x="332854" y="153506"/>
                </a:cubicBezTo>
                <a:cubicBezTo>
                  <a:pt x="332854" y="153506"/>
                  <a:pt x="332854" y="153506"/>
                  <a:pt x="281595" y="243093"/>
                </a:cubicBezTo>
                <a:cubicBezTo>
                  <a:pt x="280590" y="239066"/>
                  <a:pt x="280088" y="234536"/>
                  <a:pt x="279082" y="230008"/>
                </a:cubicBezTo>
                <a:cubicBezTo>
                  <a:pt x="277072" y="223968"/>
                  <a:pt x="273053" y="211385"/>
                  <a:pt x="272047" y="208366"/>
                </a:cubicBezTo>
                <a:cubicBezTo>
                  <a:pt x="268026" y="197293"/>
                  <a:pt x="262499" y="188234"/>
                  <a:pt x="259483" y="182194"/>
                </a:cubicBezTo>
                <a:cubicBezTo>
                  <a:pt x="246418" y="159546"/>
                  <a:pt x="221290" y="115759"/>
                  <a:pt x="221290" y="115759"/>
                </a:cubicBezTo>
                <a:cubicBezTo>
                  <a:pt x="221290" y="115759"/>
                  <a:pt x="195661" y="71972"/>
                  <a:pt x="182595" y="49323"/>
                </a:cubicBezTo>
                <a:cubicBezTo>
                  <a:pt x="181088" y="46304"/>
                  <a:pt x="179078" y="42780"/>
                  <a:pt x="176565" y="38754"/>
                </a:cubicBezTo>
                <a:cubicBezTo>
                  <a:pt x="180585" y="33722"/>
                  <a:pt x="187118" y="26675"/>
                  <a:pt x="187620" y="25668"/>
                </a:cubicBezTo>
                <a:cubicBezTo>
                  <a:pt x="195661" y="16105"/>
                  <a:pt x="205209" y="9060"/>
                  <a:pt x="214758" y="4530"/>
                </a:cubicBezTo>
                <a:cubicBezTo>
                  <a:pt x="223804" y="1007"/>
                  <a:pt x="231844" y="0"/>
                  <a:pt x="236869" y="0"/>
                </a:cubicBezTo>
                <a:close/>
                <a:moveTo>
                  <a:pt x="88490" y="0"/>
                </a:moveTo>
                <a:lnTo>
                  <a:pt x="90100" y="0"/>
                </a:lnTo>
                <a:lnTo>
                  <a:pt x="101374" y="0"/>
                </a:lnTo>
                <a:lnTo>
                  <a:pt x="131973" y="0"/>
                </a:lnTo>
                <a:lnTo>
                  <a:pt x="157539" y="0"/>
                </a:lnTo>
                <a:lnTo>
                  <a:pt x="191560" y="0"/>
                </a:lnTo>
                <a:cubicBezTo>
                  <a:pt x="188040" y="2517"/>
                  <a:pt x="185024" y="5535"/>
                  <a:pt x="181504" y="9059"/>
                </a:cubicBezTo>
                <a:cubicBezTo>
                  <a:pt x="176980" y="13084"/>
                  <a:pt x="168934" y="22646"/>
                  <a:pt x="166421" y="25666"/>
                </a:cubicBezTo>
                <a:cubicBezTo>
                  <a:pt x="158879" y="34725"/>
                  <a:pt x="153349" y="43280"/>
                  <a:pt x="150332" y="49319"/>
                </a:cubicBezTo>
                <a:cubicBezTo>
                  <a:pt x="136756" y="71965"/>
                  <a:pt x="111617" y="115748"/>
                  <a:pt x="111617" y="115748"/>
                </a:cubicBezTo>
                <a:cubicBezTo>
                  <a:pt x="111617" y="115748"/>
                  <a:pt x="86479" y="159532"/>
                  <a:pt x="72903" y="182178"/>
                </a:cubicBezTo>
                <a:cubicBezTo>
                  <a:pt x="71395" y="185198"/>
                  <a:pt x="69886" y="188721"/>
                  <a:pt x="67373" y="193250"/>
                </a:cubicBezTo>
                <a:cubicBezTo>
                  <a:pt x="60837" y="191740"/>
                  <a:pt x="51284" y="190230"/>
                  <a:pt x="50278" y="189727"/>
                </a:cubicBezTo>
                <a:cubicBezTo>
                  <a:pt x="37709" y="187715"/>
                  <a:pt x="27150" y="183185"/>
                  <a:pt x="18603" y="176643"/>
                </a:cubicBezTo>
                <a:cubicBezTo>
                  <a:pt x="10558" y="170604"/>
                  <a:pt x="6033" y="164062"/>
                  <a:pt x="3520" y="160035"/>
                </a:cubicBezTo>
                <a:cubicBezTo>
                  <a:pt x="3520" y="160035"/>
                  <a:pt x="3520" y="160035"/>
                  <a:pt x="0" y="153493"/>
                </a:cubicBezTo>
                <a:cubicBezTo>
                  <a:pt x="0" y="153493"/>
                  <a:pt x="0" y="153493"/>
                  <a:pt x="2514" y="148963"/>
                </a:cubicBezTo>
                <a:cubicBezTo>
                  <a:pt x="2514" y="148963"/>
                  <a:pt x="2514" y="148963"/>
                  <a:pt x="88490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r>
              <a:rPr lang="en-US" noProof="0"/>
              <a:t>Click icon to add SmartArt graphic</a:t>
            </a:r>
            <a:endParaRPr lang="de-DE" noProof="0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359D8B67-F448-4FDD-984D-6E7554F5EF4A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336550" y="1"/>
            <a:ext cx="5688012" cy="1125538"/>
          </a:xfrm>
        </p:spPr>
        <p:txBody>
          <a:bodyPr vert="horz" rIns="0"/>
          <a:lstStyle/>
          <a:p>
            <a:r>
              <a:rPr lang="en-US" noProof="0"/>
              <a:t>Click to edit Master title style</a:t>
            </a:r>
            <a:endParaRPr lang="de-DE" noProof="0" dirty="0"/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17DAB839-6EDD-4178-BE8E-588EF7241AAC}"/>
              </a:ext>
            </a:extLst>
          </p:cNvPr>
          <p:cNvSpPr>
            <a:spLocks noGrp="1"/>
          </p:cNvSpPr>
          <p:nvPr>
            <p:ph type="dt" sz="half" idx="16"/>
          </p:nvPr>
        </p:nvSpPr>
        <p:spPr bwMode="gray"/>
        <p:txBody>
          <a:bodyPr/>
          <a:lstStyle/>
          <a:p>
            <a:fld id="{F42C6A59-D5EA-4A5D-99CB-FD9ABC8DA040}" type="datetime1">
              <a:rPr lang="de-DE" noProof="0" smtClean="0"/>
              <a:t>22.10.2023</a:t>
            </a:fld>
            <a:endParaRPr lang="de-DE" sz="800" noProof="0"/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67DBB78D-8B69-45E8-8385-9B8830A13C02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 bwMode="gray"/>
        <p:txBody>
          <a:bodyPr/>
          <a:lstStyle/>
          <a:p>
            <a:pPr algn="ctr"/>
            <a:r>
              <a:rPr lang="de-DE" noProof="0"/>
              <a:t>Commerzbank AG, Max Mustermann, GM-C Brand Management </a:t>
            </a: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A35C623B-FA1D-4980-87F5-04FA7F9DBE12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 bwMode="gray"/>
        <p:txBody>
          <a:bodyPr/>
          <a:lstStyle/>
          <a:p>
            <a:fld id="{CAEFDB47-5D1C-45E7-8BD0-EF74349B00F7}" type="slidenum">
              <a:rPr lang="de-DE" noProof="0" smtClean="0"/>
              <a:pPr/>
              <a:t>‹#›</a:t>
            </a:fld>
            <a:endParaRPr lang="de-DE" b="1" noProof="0"/>
          </a:p>
        </p:txBody>
      </p:sp>
      <p:sp>
        <p:nvSpPr>
          <p:cNvPr id="13" name="Textplatzhalter 14">
            <a:extLst>
              <a:ext uri="{FF2B5EF4-FFF2-40B4-BE49-F238E27FC236}">
                <a16:creationId xmlns:a16="http://schemas.microsoft.com/office/drawing/2014/main" id="{687DD334-3B2F-492A-B1F9-37793F971B0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>
          <a:xfrm>
            <a:off x="336550" y="1411288"/>
            <a:ext cx="5688012" cy="5041901"/>
          </a:xfrm>
        </p:spPr>
        <p:txBody>
          <a:bodyPr rIns="144000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294770533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Picture Fullsiz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hteck 14">
            <a:extLst>
              <a:ext uri="{FF2B5EF4-FFF2-40B4-BE49-F238E27FC236}">
                <a16:creationId xmlns:a16="http://schemas.microsoft.com/office/drawing/2014/main" id="{3D84946B-E163-4ADA-8A99-DC1319431949}"/>
              </a:ext>
            </a:extLst>
          </p:cNvPr>
          <p:cNvSpPr/>
          <p:nvPr userDrawn="1"/>
        </p:nvSpPr>
        <p:spPr bwMode="gray">
          <a:xfrm>
            <a:off x="0" y="0"/>
            <a:ext cx="12192000" cy="645318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sz="1200" b="1">
              <a:solidFill>
                <a:schemeClr val="bg1"/>
              </a:solidFill>
            </a:endParaRPr>
          </a:p>
        </p:txBody>
      </p:sp>
      <p:sp>
        <p:nvSpPr>
          <p:cNvPr id="10" name="Bildplatzhalter 8">
            <a:extLst>
              <a:ext uri="{FF2B5EF4-FFF2-40B4-BE49-F238E27FC236}">
                <a16:creationId xmlns:a16="http://schemas.microsoft.com/office/drawing/2014/main" id="{CEC443DD-2BF6-4B18-84D7-A28FE56FF26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0" y="0"/>
            <a:ext cx="12192000" cy="6453188"/>
          </a:xfrm>
          <a:solidFill>
            <a:schemeClr val="accent1"/>
          </a:solidFill>
        </p:spPr>
        <p:txBody>
          <a:bodyPr lIns="0" tIns="0" rIns="0" bIns="576000" anchor="b"/>
          <a:lstStyle>
            <a:lvl1pPr marL="0" indent="0" algn="ctr">
              <a:buNone/>
              <a:defRPr sz="800">
                <a:solidFill>
                  <a:schemeClr val="accent6"/>
                </a:solidFill>
              </a:defRPr>
            </a:lvl1pPr>
          </a:lstStyle>
          <a:p>
            <a:r>
              <a:rPr lang="de-DE" noProof="0" dirty="0"/>
              <a:t>Fügen Sie ein Bild über Klicken auf das Symbol ein. </a:t>
            </a: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Alternativ kopieren Sie ein Bild in die Zwischenablage, </a:t>
            </a:r>
            <a:br>
              <a:rPr lang="de-DE" noProof="0" dirty="0"/>
            </a:br>
            <a:r>
              <a:rPr lang="de-DE" noProof="0" dirty="0"/>
              <a:t>wählen Sie den Platzhalter an und klicken Sie einfügen. </a:t>
            </a: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Achten Sie darauf, dass das Logo im Vordergrund ist und </a:t>
            </a:r>
            <a:br>
              <a:rPr lang="de-DE" noProof="0" dirty="0"/>
            </a:br>
            <a:r>
              <a:rPr lang="de-DE" noProof="0" dirty="0"/>
              <a:t>wählen Sie bei hellen Bildern Petrol als Logofarbe.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82F830EA-47C1-4965-BD05-B1B8E92212E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1722437" y="1412876"/>
            <a:ext cx="7218363" cy="3311524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1200"/>
              </a:spcBef>
              <a:spcAft>
                <a:spcPts val="1200"/>
              </a:spcAft>
              <a:buNone/>
              <a:defRPr sz="4800" b="1">
                <a:solidFill>
                  <a:schemeClr val="bg1"/>
                </a:solidFill>
              </a:defRPr>
            </a:lvl1pPr>
            <a:lvl2pPr marL="0" indent="0">
              <a:spcBef>
                <a:spcPts val="600"/>
              </a:spcBef>
              <a:spcAft>
                <a:spcPts val="0"/>
              </a:spcAft>
              <a:buClrTx/>
              <a:buNone/>
              <a:defRPr>
                <a:solidFill>
                  <a:schemeClr val="bg1"/>
                </a:solidFill>
              </a:defRPr>
            </a:lvl2pPr>
            <a:lvl3pPr marL="180000" indent="-180000">
              <a:buClrTx/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 marL="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</a:defRPr>
            </a:lvl5pPr>
            <a:lvl6pPr marL="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</a:defRPr>
            </a:lvl6pPr>
            <a:lvl7pPr marL="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</a:defRPr>
            </a:lvl7pPr>
            <a:lvl8pPr marL="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</a:defRPr>
            </a:lvl8pPr>
            <a:lvl9pPr marL="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  <p:sp>
        <p:nvSpPr>
          <p:cNvPr id="12" name="SmartArt-Platzhalter 11">
            <a:extLst>
              <a:ext uri="{FF2B5EF4-FFF2-40B4-BE49-F238E27FC236}">
                <a16:creationId xmlns:a16="http://schemas.microsoft.com/office/drawing/2014/main" id="{90E25250-96E1-4A78-9EE6-8AD9112BF777}"/>
              </a:ext>
            </a:extLst>
          </p:cNvPr>
          <p:cNvSpPr>
            <a:spLocks noGrp="1"/>
          </p:cNvSpPr>
          <p:nvPr>
            <p:ph type="dgm" sz="quarter" idx="15"/>
          </p:nvPr>
        </p:nvSpPr>
        <p:spPr bwMode="gray">
          <a:xfrm>
            <a:off x="11522271" y="260351"/>
            <a:ext cx="332854" cy="288924"/>
          </a:xfrm>
          <a:custGeom>
            <a:avLst/>
            <a:gdLst>
              <a:gd name="connsiteX0" fmla="*/ 26189 w 332854"/>
              <a:gd name="connsiteY0" fmla="*/ 199375 h 288924"/>
              <a:gd name="connsiteX1" fmla="*/ 38755 w 332854"/>
              <a:gd name="connsiteY1" fmla="*/ 203399 h 288924"/>
              <a:gd name="connsiteX2" fmla="*/ 60872 w 332854"/>
              <a:gd name="connsiteY2" fmla="*/ 208430 h 288924"/>
              <a:gd name="connsiteX3" fmla="*/ 89523 w 332854"/>
              <a:gd name="connsiteY3" fmla="*/ 210442 h 288924"/>
              <a:gd name="connsiteX4" fmla="*/ 166428 w 332854"/>
              <a:gd name="connsiteY4" fmla="*/ 210442 h 288924"/>
              <a:gd name="connsiteX5" fmla="*/ 243335 w 332854"/>
              <a:gd name="connsiteY5" fmla="*/ 210442 h 288924"/>
              <a:gd name="connsiteX6" fmla="*/ 255398 w 332854"/>
              <a:gd name="connsiteY6" fmla="*/ 210442 h 288924"/>
              <a:gd name="connsiteX7" fmla="*/ 260927 w 332854"/>
              <a:gd name="connsiteY7" fmla="*/ 226542 h 288924"/>
              <a:gd name="connsiteX8" fmla="*/ 265953 w 332854"/>
              <a:gd name="connsiteY8" fmla="*/ 260752 h 288924"/>
              <a:gd name="connsiteX9" fmla="*/ 258916 w 332854"/>
              <a:gd name="connsiteY9" fmla="*/ 282384 h 288924"/>
              <a:gd name="connsiteX10" fmla="*/ 254895 w 332854"/>
              <a:gd name="connsiteY10" fmla="*/ 288924 h 288924"/>
              <a:gd name="connsiteX11" fmla="*/ 253513 w 332854"/>
              <a:gd name="connsiteY11" fmla="*/ 288924 h 288924"/>
              <a:gd name="connsiteX12" fmla="*/ 243837 w 332854"/>
              <a:gd name="connsiteY12" fmla="*/ 288924 h 288924"/>
              <a:gd name="connsiteX13" fmla="*/ 217573 w 332854"/>
              <a:gd name="connsiteY13" fmla="*/ 288924 h 288924"/>
              <a:gd name="connsiteX14" fmla="*/ 166428 w 332854"/>
              <a:gd name="connsiteY14" fmla="*/ 288924 h 288924"/>
              <a:gd name="connsiteX15" fmla="*/ 165046 w 332854"/>
              <a:gd name="connsiteY15" fmla="*/ 288924 h 288924"/>
              <a:gd name="connsiteX16" fmla="*/ 155370 w 332854"/>
              <a:gd name="connsiteY16" fmla="*/ 288924 h 288924"/>
              <a:gd name="connsiteX17" fmla="*/ 129106 w 332854"/>
              <a:gd name="connsiteY17" fmla="*/ 288924 h 288924"/>
              <a:gd name="connsiteX18" fmla="*/ 77962 w 332854"/>
              <a:gd name="connsiteY18" fmla="*/ 288924 h 288924"/>
              <a:gd name="connsiteX19" fmla="*/ 26189 w 332854"/>
              <a:gd name="connsiteY19" fmla="*/ 199375 h 288924"/>
              <a:gd name="connsiteX20" fmla="*/ 236869 w 332854"/>
              <a:gd name="connsiteY20" fmla="*/ 0 h 288924"/>
              <a:gd name="connsiteX21" fmla="*/ 237811 w 332854"/>
              <a:gd name="connsiteY21" fmla="*/ 0 h 288924"/>
              <a:gd name="connsiteX22" fmla="*/ 244408 w 332854"/>
              <a:gd name="connsiteY22" fmla="*/ 0 h 288924"/>
              <a:gd name="connsiteX23" fmla="*/ 332854 w 332854"/>
              <a:gd name="connsiteY23" fmla="*/ 153506 h 288924"/>
              <a:gd name="connsiteX24" fmla="*/ 281595 w 332854"/>
              <a:gd name="connsiteY24" fmla="*/ 243093 h 288924"/>
              <a:gd name="connsiteX25" fmla="*/ 279082 w 332854"/>
              <a:gd name="connsiteY25" fmla="*/ 230008 h 288924"/>
              <a:gd name="connsiteX26" fmla="*/ 272047 w 332854"/>
              <a:gd name="connsiteY26" fmla="*/ 208366 h 288924"/>
              <a:gd name="connsiteX27" fmla="*/ 259483 w 332854"/>
              <a:gd name="connsiteY27" fmla="*/ 182194 h 288924"/>
              <a:gd name="connsiteX28" fmla="*/ 221290 w 332854"/>
              <a:gd name="connsiteY28" fmla="*/ 115759 h 288924"/>
              <a:gd name="connsiteX29" fmla="*/ 182595 w 332854"/>
              <a:gd name="connsiteY29" fmla="*/ 49323 h 288924"/>
              <a:gd name="connsiteX30" fmla="*/ 176565 w 332854"/>
              <a:gd name="connsiteY30" fmla="*/ 38754 h 288924"/>
              <a:gd name="connsiteX31" fmla="*/ 187620 w 332854"/>
              <a:gd name="connsiteY31" fmla="*/ 25668 h 288924"/>
              <a:gd name="connsiteX32" fmla="*/ 214758 w 332854"/>
              <a:gd name="connsiteY32" fmla="*/ 4530 h 288924"/>
              <a:gd name="connsiteX33" fmla="*/ 236869 w 332854"/>
              <a:gd name="connsiteY33" fmla="*/ 0 h 288924"/>
              <a:gd name="connsiteX34" fmla="*/ 88490 w 332854"/>
              <a:gd name="connsiteY34" fmla="*/ 0 h 288924"/>
              <a:gd name="connsiteX35" fmla="*/ 90100 w 332854"/>
              <a:gd name="connsiteY35" fmla="*/ 0 h 288924"/>
              <a:gd name="connsiteX36" fmla="*/ 101374 w 332854"/>
              <a:gd name="connsiteY36" fmla="*/ 0 h 288924"/>
              <a:gd name="connsiteX37" fmla="*/ 131973 w 332854"/>
              <a:gd name="connsiteY37" fmla="*/ 0 h 288924"/>
              <a:gd name="connsiteX38" fmla="*/ 157539 w 332854"/>
              <a:gd name="connsiteY38" fmla="*/ 0 h 288924"/>
              <a:gd name="connsiteX39" fmla="*/ 191560 w 332854"/>
              <a:gd name="connsiteY39" fmla="*/ 0 h 288924"/>
              <a:gd name="connsiteX40" fmla="*/ 181504 w 332854"/>
              <a:gd name="connsiteY40" fmla="*/ 9059 h 288924"/>
              <a:gd name="connsiteX41" fmla="*/ 166421 w 332854"/>
              <a:gd name="connsiteY41" fmla="*/ 25666 h 288924"/>
              <a:gd name="connsiteX42" fmla="*/ 150332 w 332854"/>
              <a:gd name="connsiteY42" fmla="*/ 49319 h 288924"/>
              <a:gd name="connsiteX43" fmla="*/ 111617 w 332854"/>
              <a:gd name="connsiteY43" fmla="*/ 115748 h 288924"/>
              <a:gd name="connsiteX44" fmla="*/ 72903 w 332854"/>
              <a:gd name="connsiteY44" fmla="*/ 182178 h 288924"/>
              <a:gd name="connsiteX45" fmla="*/ 67373 w 332854"/>
              <a:gd name="connsiteY45" fmla="*/ 193250 h 288924"/>
              <a:gd name="connsiteX46" fmla="*/ 50278 w 332854"/>
              <a:gd name="connsiteY46" fmla="*/ 189727 h 288924"/>
              <a:gd name="connsiteX47" fmla="*/ 18603 w 332854"/>
              <a:gd name="connsiteY47" fmla="*/ 176643 h 288924"/>
              <a:gd name="connsiteX48" fmla="*/ 3520 w 332854"/>
              <a:gd name="connsiteY48" fmla="*/ 160035 h 288924"/>
              <a:gd name="connsiteX49" fmla="*/ 0 w 332854"/>
              <a:gd name="connsiteY49" fmla="*/ 153493 h 288924"/>
              <a:gd name="connsiteX50" fmla="*/ 2514 w 332854"/>
              <a:gd name="connsiteY50" fmla="*/ 148963 h 288924"/>
              <a:gd name="connsiteX51" fmla="*/ 88490 w 332854"/>
              <a:gd name="connsiteY51" fmla="*/ 0 h 2889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</a:cxnLst>
            <a:rect l="l" t="t" r="r" b="b"/>
            <a:pathLst>
              <a:path w="332854" h="288924">
                <a:moveTo>
                  <a:pt x="26189" y="199375"/>
                </a:moveTo>
                <a:cubicBezTo>
                  <a:pt x="29708" y="200884"/>
                  <a:pt x="34232" y="202394"/>
                  <a:pt x="38755" y="203399"/>
                </a:cubicBezTo>
                <a:cubicBezTo>
                  <a:pt x="44787" y="204909"/>
                  <a:pt x="57354" y="207927"/>
                  <a:pt x="60872" y="208430"/>
                </a:cubicBezTo>
                <a:cubicBezTo>
                  <a:pt x="72433" y="210442"/>
                  <a:pt x="82989" y="210442"/>
                  <a:pt x="89523" y="210442"/>
                </a:cubicBezTo>
                <a:cubicBezTo>
                  <a:pt x="89523" y="210442"/>
                  <a:pt x="89523" y="210442"/>
                  <a:pt x="166428" y="210442"/>
                </a:cubicBezTo>
                <a:cubicBezTo>
                  <a:pt x="166428" y="210442"/>
                  <a:pt x="166428" y="210442"/>
                  <a:pt x="243335" y="210442"/>
                </a:cubicBezTo>
                <a:cubicBezTo>
                  <a:pt x="246350" y="210442"/>
                  <a:pt x="250371" y="210442"/>
                  <a:pt x="255398" y="210442"/>
                </a:cubicBezTo>
                <a:cubicBezTo>
                  <a:pt x="257408" y="216480"/>
                  <a:pt x="260927" y="226038"/>
                  <a:pt x="260927" y="226542"/>
                </a:cubicBezTo>
                <a:cubicBezTo>
                  <a:pt x="265451" y="238616"/>
                  <a:pt x="266959" y="250186"/>
                  <a:pt x="265953" y="260752"/>
                </a:cubicBezTo>
                <a:cubicBezTo>
                  <a:pt x="264446" y="270814"/>
                  <a:pt x="260927" y="277857"/>
                  <a:pt x="258916" y="282384"/>
                </a:cubicBezTo>
                <a:lnTo>
                  <a:pt x="254895" y="288924"/>
                </a:lnTo>
                <a:lnTo>
                  <a:pt x="253513" y="288924"/>
                </a:lnTo>
                <a:lnTo>
                  <a:pt x="243837" y="288924"/>
                </a:lnTo>
                <a:lnTo>
                  <a:pt x="217573" y="288924"/>
                </a:lnTo>
                <a:lnTo>
                  <a:pt x="166428" y="288924"/>
                </a:lnTo>
                <a:lnTo>
                  <a:pt x="165046" y="288924"/>
                </a:lnTo>
                <a:lnTo>
                  <a:pt x="155370" y="288924"/>
                </a:lnTo>
                <a:lnTo>
                  <a:pt x="129106" y="288924"/>
                </a:lnTo>
                <a:lnTo>
                  <a:pt x="77962" y="288924"/>
                </a:lnTo>
                <a:cubicBezTo>
                  <a:pt x="77962" y="288924"/>
                  <a:pt x="77962" y="288924"/>
                  <a:pt x="26189" y="199375"/>
                </a:cubicBezTo>
                <a:close/>
                <a:moveTo>
                  <a:pt x="236869" y="0"/>
                </a:moveTo>
                <a:lnTo>
                  <a:pt x="237811" y="0"/>
                </a:lnTo>
                <a:lnTo>
                  <a:pt x="244408" y="0"/>
                </a:lnTo>
                <a:cubicBezTo>
                  <a:pt x="244408" y="0"/>
                  <a:pt x="244408" y="0"/>
                  <a:pt x="332854" y="153506"/>
                </a:cubicBezTo>
                <a:cubicBezTo>
                  <a:pt x="332854" y="153506"/>
                  <a:pt x="332854" y="153506"/>
                  <a:pt x="281595" y="243093"/>
                </a:cubicBezTo>
                <a:cubicBezTo>
                  <a:pt x="280590" y="239066"/>
                  <a:pt x="280088" y="234536"/>
                  <a:pt x="279082" y="230008"/>
                </a:cubicBezTo>
                <a:cubicBezTo>
                  <a:pt x="277072" y="223968"/>
                  <a:pt x="273053" y="211385"/>
                  <a:pt x="272047" y="208366"/>
                </a:cubicBezTo>
                <a:cubicBezTo>
                  <a:pt x="268026" y="197293"/>
                  <a:pt x="262499" y="188234"/>
                  <a:pt x="259483" y="182194"/>
                </a:cubicBezTo>
                <a:cubicBezTo>
                  <a:pt x="246418" y="159546"/>
                  <a:pt x="221290" y="115759"/>
                  <a:pt x="221290" y="115759"/>
                </a:cubicBezTo>
                <a:cubicBezTo>
                  <a:pt x="221290" y="115759"/>
                  <a:pt x="195661" y="71972"/>
                  <a:pt x="182595" y="49323"/>
                </a:cubicBezTo>
                <a:cubicBezTo>
                  <a:pt x="181088" y="46304"/>
                  <a:pt x="179078" y="42780"/>
                  <a:pt x="176565" y="38754"/>
                </a:cubicBezTo>
                <a:cubicBezTo>
                  <a:pt x="180585" y="33722"/>
                  <a:pt x="187118" y="26675"/>
                  <a:pt x="187620" y="25668"/>
                </a:cubicBezTo>
                <a:cubicBezTo>
                  <a:pt x="195661" y="16105"/>
                  <a:pt x="205209" y="9060"/>
                  <a:pt x="214758" y="4530"/>
                </a:cubicBezTo>
                <a:cubicBezTo>
                  <a:pt x="223804" y="1007"/>
                  <a:pt x="231844" y="0"/>
                  <a:pt x="236869" y="0"/>
                </a:cubicBezTo>
                <a:close/>
                <a:moveTo>
                  <a:pt x="88490" y="0"/>
                </a:moveTo>
                <a:lnTo>
                  <a:pt x="90100" y="0"/>
                </a:lnTo>
                <a:lnTo>
                  <a:pt x="101374" y="0"/>
                </a:lnTo>
                <a:lnTo>
                  <a:pt x="131973" y="0"/>
                </a:lnTo>
                <a:lnTo>
                  <a:pt x="157539" y="0"/>
                </a:lnTo>
                <a:lnTo>
                  <a:pt x="191560" y="0"/>
                </a:lnTo>
                <a:cubicBezTo>
                  <a:pt x="188040" y="2517"/>
                  <a:pt x="185024" y="5535"/>
                  <a:pt x="181504" y="9059"/>
                </a:cubicBezTo>
                <a:cubicBezTo>
                  <a:pt x="176980" y="13084"/>
                  <a:pt x="168934" y="22646"/>
                  <a:pt x="166421" y="25666"/>
                </a:cubicBezTo>
                <a:cubicBezTo>
                  <a:pt x="158879" y="34725"/>
                  <a:pt x="153349" y="43280"/>
                  <a:pt x="150332" y="49319"/>
                </a:cubicBezTo>
                <a:cubicBezTo>
                  <a:pt x="136756" y="71965"/>
                  <a:pt x="111617" y="115748"/>
                  <a:pt x="111617" y="115748"/>
                </a:cubicBezTo>
                <a:cubicBezTo>
                  <a:pt x="111617" y="115748"/>
                  <a:pt x="86479" y="159532"/>
                  <a:pt x="72903" y="182178"/>
                </a:cubicBezTo>
                <a:cubicBezTo>
                  <a:pt x="71395" y="185198"/>
                  <a:pt x="69886" y="188721"/>
                  <a:pt x="67373" y="193250"/>
                </a:cubicBezTo>
                <a:cubicBezTo>
                  <a:pt x="60837" y="191740"/>
                  <a:pt x="51284" y="190230"/>
                  <a:pt x="50278" y="189727"/>
                </a:cubicBezTo>
                <a:cubicBezTo>
                  <a:pt x="37709" y="187715"/>
                  <a:pt x="27150" y="183185"/>
                  <a:pt x="18603" y="176643"/>
                </a:cubicBezTo>
                <a:cubicBezTo>
                  <a:pt x="10558" y="170604"/>
                  <a:pt x="6033" y="164062"/>
                  <a:pt x="3520" y="160035"/>
                </a:cubicBezTo>
                <a:cubicBezTo>
                  <a:pt x="3520" y="160035"/>
                  <a:pt x="3520" y="160035"/>
                  <a:pt x="0" y="153493"/>
                </a:cubicBezTo>
                <a:cubicBezTo>
                  <a:pt x="0" y="153493"/>
                  <a:pt x="0" y="153493"/>
                  <a:pt x="2514" y="148963"/>
                </a:cubicBezTo>
                <a:cubicBezTo>
                  <a:pt x="2514" y="148963"/>
                  <a:pt x="2514" y="148963"/>
                  <a:pt x="88490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r>
              <a:rPr lang="en-US" noProof="0"/>
              <a:t>Click icon to add SmartArt graphic</a:t>
            </a:r>
            <a:endParaRPr lang="de-DE" noProof="0" dirty="0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ACF53ED3-38A7-4F5B-8F74-CF94F11AE3B5}"/>
              </a:ext>
            </a:extLst>
          </p:cNvPr>
          <p:cNvSpPr>
            <a:spLocks noGrp="1"/>
          </p:cNvSpPr>
          <p:nvPr>
            <p:ph type="dt" sz="half" idx="20"/>
          </p:nvPr>
        </p:nvSpPr>
        <p:spPr bwMode="gray"/>
        <p:txBody>
          <a:bodyPr/>
          <a:lstStyle/>
          <a:p>
            <a:fld id="{354587EC-2A70-4AA8-942F-DD71A2B82C88}" type="datetime1">
              <a:rPr lang="de-DE" noProof="0" smtClean="0"/>
              <a:t>22.10.2023</a:t>
            </a:fld>
            <a:endParaRPr lang="de-DE" sz="800" noProof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FDB4A587-2B48-47E5-8FC8-FCC736BF5F61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 bwMode="gray"/>
        <p:txBody>
          <a:bodyPr/>
          <a:lstStyle/>
          <a:p>
            <a:pPr algn="ctr"/>
            <a:r>
              <a:rPr lang="de-DE" noProof="0"/>
              <a:t>Commerzbank AG, Max Mustermann, GM-C Brand Management 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359E580F-6707-42B3-AB53-A8B38B0BBB54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 bwMode="gray"/>
        <p:txBody>
          <a:bodyPr/>
          <a:lstStyle/>
          <a:p>
            <a:fld id="{CAEFDB47-5D1C-45E7-8BD0-EF74349B00F7}" type="slidenum">
              <a:rPr lang="de-DE" noProof="0" smtClean="0"/>
              <a:pPr/>
              <a:t>‹#›</a:t>
            </a:fld>
            <a:endParaRPr lang="de-DE" b="1" noProof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4CF59287-810C-47D8-BAD6-E90E56A6D6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22436" y="836613"/>
            <a:ext cx="5094289" cy="574675"/>
          </a:xfrm>
        </p:spPr>
        <p:txBody>
          <a:bodyPr tIns="144000" rIns="0"/>
          <a:lstStyle>
            <a:lvl1pPr>
              <a:defRPr sz="12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9803787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2 x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F211E17-AEA1-4E11-9AC2-3A2199F9115D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noProof="0"/>
              <a:t>Click to edit Master title style</a:t>
            </a:r>
            <a:endParaRPr lang="de-DE" noProof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0358B7C0-0247-405F-8559-68AEBF15D2A5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B600E49A-8649-4AAC-A85A-83741020B512}" type="datetime1">
              <a:rPr lang="de-DE" noProof="0" smtClean="0"/>
              <a:t>22.10.2023</a:t>
            </a:fld>
            <a:endParaRPr lang="de-DE" sz="800" noProof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66AEAC1-3766-423F-81D5-D7FAEFFA55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pPr algn="ctr"/>
            <a:r>
              <a:rPr lang="de-DE" noProof="0"/>
              <a:t>Commerzbank AG, Max Mustermann, GM-C Brand Management 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1E4EAF3-3870-400C-8EC4-AC9F3893DE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CAEFDB47-5D1C-45E7-8BD0-EF74349B00F7}" type="slidenum">
              <a:rPr lang="de-DE" noProof="0" smtClean="0"/>
              <a:pPr/>
              <a:t>‹#›</a:t>
            </a:fld>
            <a:endParaRPr lang="de-DE" b="0" noProof="0"/>
          </a:p>
        </p:txBody>
      </p:sp>
      <p:sp>
        <p:nvSpPr>
          <p:cNvPr id="8" name="Bildplatzhalter 8">
            <a:extLst>
              <a:ext uri="{FF2B5EF4-FFF2-40B4-BE49-F238E27FC236}">
                <a16:creationId xmlns:a16="http://schemas.microsoft.com/office/drawing/2014/main" id="{C1CE1843-50B6-43F2-940C-3D088A7ED44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167438" y="1411288"/>
            <a:ext cx="2773363" cy="5041899"/>
          </a:xfrm>
          <a:noFill/>
        </p:spPr>
        <p:txBody>
          <a:bodyPr lIns="0" tIns="0" rIns="0" bIns="576000" anchor="b"/>
          <a:lstStyle>
            <a:lvl1pPr marL="0" indent="0" algn="ctr">
              <a:buNone/>
              <a:defRPr sz="800">
                <a:solidFill>
                  <a:schemeClr val="accent4"/>
                </a:solidFill>
              </a:defRPr>
            </a:lvl1pPr>
          </a:lstStyle>
          <a:p>
            <a:r>
              <a:rPr lang="de-DE" noProof="0" dirty="0"/>
              <a:t>Fügen Sie ein Bild über Klicken auf das Symbol ein. </a:t>
            </a: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Alternativ kopieren Sie ein Bild in die Zwischenablage, </a:t>
            </a:r>
            <a:br>
              <a:rPr lang="de-DE" noProof="0" dirty="0"/>
            </a:br>
            <a:r>
              <a:rPr lang="de-DE" noProof="0" dirty="0"/>
              <a:t>wählen Sie den Platzhalter an und klicken Sie einfügen. </a:t>
            </a:r>
          </a:p>
        </p:txBody>
      </p:sp>
      <p:sp>
        <p:nvSpPr>
          <p:cNvPr id="9" name="Bildplatzhalter 8">
            <a:extLst>
              <a:ext uri="{FF2B5EF4-FFF2-40B4-BE49-F238E27FC236}">
                <a16:creationId xmlns:a16="http://schemas.microsoft.com/office/drawing/2014/main" id="{7FE7000F-F103-49B3-A2C9-FE901A2D341F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9083674" y="1411288"/>
            <a:ext cx="2773363" cy="5041899"/>
          </a:xfrm>
          <a:noFill/>
        </p:spPr>
        <p:txBody>
          <a:bodyPr lIns="0" tIns="0" rIns="0" bIns="576000" anchor="b"/>
          <a:lstStyle>
            <a:lvl1pPr marL="0" indent="0" algn="ctr">
              <a:buNone/>
              <a:defRPr sz="800">
                <a:solidFill>
                  <a:schemeClr val="accent4"/>
                </a:solidFill>
              </a:defRPr>
            </a:lvl1pPr>
          </a:lstStyle>
          <a:p>
            <a:r>
              <a:rPr lang="de-DE" noProof="0"/>
              <a:t>Fügen Sie ein Bild über Klicken auf das Symbol ein. </a:t>
            </a:r>
            <a:br>
              <a:rPr lang="de-DE" noProof="0"/>
            </a:br>
            <a:br>
              <a:rPr lang="de-DE" noProof="0"/>
            </a:br>
            <a:r>
              <a:rPr lang="de-DE" noProof="0"/>
              <a:t>Alternativ kopieren Sie ein Bild in die Zwischenablage, </a:t>
            </a:r>
            <a:br>
              <a:rPr lang="de-DE" noProof="0"/>
            </a:br>
            <a:r>
              <a:rPr lang="de-DE" noProof="0"/>
              <a:t>wählen Sie den Platzhalter an und klicken Sie einfügen. </a:t>
            </a:r>
          </a:p>
        </p:txBody>
      </p:sp>
      <p:sp>
        <p:nvSpPr>
          <p:cNvPr id="10" name="Textplatzhalter 14">
            <a:extLst>
              <a:ext uri="{FF2B5EF4-FFF2-40B4-BE49-F238E27FC236}">
                <a16:creationId xmlns:a16="http://schemas.microsoft.com/office/drawing/2014/main" id="{9094ED5F-72E2-4E12-8A00-EC304260D70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>
          <a:xfrm>
            <a:off x="336550" y="1411288"/>
            <a:ext cx="5688013" cy="5041901"/>
          </a:xfrm>
        </p:spPr>
        <p:txBody>
          <a:bodyPr rIns="144000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164163957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3 x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F211E17-AEA1-4E11-9AC2-3A2199F9115D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noProof="0"/>
              <a:t>Click to edit Master title style</a:t>
            </a:r>
            <a:endParaRPr lang="de-DE" noProof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0358B7C0-0247-405F-8559-68AEBF15D2A5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B600E49A-8649-4AAC-A85A-83741020B512}" type="datetime1">
              <a:rPr lang="de-DE" noProof="0" smtClean="0"/>
              <a:t>22.10.2023</a:t>
            </a:fld>
            <a:endParaRPr lang="de-DE" sz="800" noProof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66AEAC1-3766-423F-81D5-D7FAEFFA55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pPr algn="ctr"/>
            <a:r>
              <a:rPr lang="de-DE" noProof="0"/>
              <a:t>Commerzbank AG, Max Mustermann, GM-C Brand Management 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1E4EAF3-3870-400C-8EC4-AC9F3893DE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CAEFDB47-5D1C-45E7-8BD0-EF74349B00F7}" type="slidenum">
              <a:rPr lang="de-DE" noProof="0" smtClean="0"/>
              <a:pPr/>
              <a:t>‹#›</a:t>
            </a:fld>
            <a:endParaRPr lang="de-DE" b="0" noProof="0"/>
          </a:p>
        </p:txBody>
      </p:sp>
      <p:sp>
        <p:nvSpPr>
          <p:cNvPr id="8" name="Bildplatzhalter 8">
            <a:extLst>
              <a:ext uri="{FF2B5EF4-FFF2-40B4-BE49-F238E27FC236}">
                <a16:creationId xmlns:a16="http://schemas.microsoft.com/office/drawing/2014/main" id="{C1CE1843-50B6-43F2-940C-3D088A7ED44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3251201" y="1411287"/>
            <a:ext cx="2771774" cy="5041899"/>
          </a:xfrm>
          <a:noFill/>
        </p:spPr>
        <p:txBody>
          <a:bodyPr lIns="0" tIns="0" rIns="0" bIns="576000" anchor="b"/>
          <a:lstStyle>
            <a:lvl1pPr marL="0" indent="0" algn="ctr">
              <a:buNone/>
              <a:defRPr sz="800">
                <a:solidFill>
                  <a:schemeClr val="accent4"/>
                </a:solidFill>
              </a:defRPr>
            </a:lvl1pPr>
          </a:lstStyle>
          <a:p>
            <a:r>
              <a:rPr lang="de-DE" noProof="0"/>
              <a:t>Fügen Sie ein Bild über Klicken auf das Symbol ein. </a:t>
            </a:r>
            <a:br>
              <a:rPr lang="de-DE" noProof="0"/>
            </a:br>
            <a:br>
              <a:rPr lang="de-DE" noProof="0"/>
            </a:br>
            <a:r>
              <a:rPr lang="de-DE" noProof="0"/>
              <a:t>Alternativ kopieren Sie ein Bild in die Zwischenablage, </a:t>
            </a:r>
            <a:br>
              <a:rPr lang="de-DE" noProof="0"/>
            </a:br>
            <a:r>
              <a:rPr lang="de-DE" noProof="0"/>
              <a:t>wählen Sie den Platzhalter an und klicken Sie einfügen. </a:t>
            </a:r>
          </a:p>
        </p:txBody>
      </p:sp>
      <p:sp>
        <p:nvSpPr>
          <p:cNvPr id="9" name="Bildplatzhalter 8">
            <a:extLst>
              <a:ext uri="{FF2B5EF4-FFF2-40B4-BE49-F238E27FC236}">
                <a16:creationId xmlns:a16="http://schemas.microsoft.com/office/drawing/2014/main" id="{7FE7000F-F103-49B3-A2C9-FE901A2D341F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6167438" y="1411287"/>
            <a:ext cx="2771774" cy="5041899"/>
          </a:xfrm>
          <a:noFill/>
        </p:spPr>
        <p:txBody>
          <a:bodyPr lIns="0" tIns="0" rIns="0" bIns="576000" anchor="b"/>
          <a:lstStyle>
            <a:lvl1pPr marL="0" indent="0" algn="ctr">
              <a:buNone/>
              <a:defRPr sz="800">
                <a:solidFill>
                  <a:schemeClr val="accent4"/>
                </a:solidFill>
              </a:defRPr>
            </a:lvl1pPr>
          </a:lstStyle>
          <a:p>
            <a:r>
              <a:rPr lang="de-DE" noProof="0"/>
              <a:t>Fügen Sie ein Bild über Klicken auf das Symbol ein. </a:t>
            </a:r>
            <a:br>
              <a:rPr lang="de-DE" noProof="0"/>
            </a:br>
            <a:br>
              <a:rPr lang="de-DE" noProof="0"/>
            </a:br>
            <a:r>
              <a:rPr lang="de-DE" noProof="0"/>
              <a:t>Alternativ kopieren Sie ein Bild in die Zwischenablage, </a:t>
            </a:r>
            <a:br>
              <a:rPr lang="de-DE" noProof="0"/>
            </a:br>
            <a:r>
              <a:rPr lang="de-DE" noProof="0"/>
              <a:t>wählen Sie den Platzhalter an und klicken Sie einfügen. </a:t>
            </a:r>
          </a:p>
        </p:txBody>
      </p:sp>
      <p:sp>
        <p:nvSpPr>
          <p:cNvPr id="14" name="Bildplatzhalter 8">
            <a:extLst>
              <a:ext uri="{FF2B5EF4-FFF2-40B4-BE49-F238E27FC236}">
                <a16:creationId xmlns:a16="http://schemas.microsoft.com/office/drawing/2014/main" id="{6018F24F-3A27-42DA-B136-26A310967591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 bwMode="gray">
          <a:xfrm>
            <a:off x="9083675" y="1411287"/>
            <a:ext cx="2771774" cy="5041899"/>
          </a:xfrm>
          <a:noFill/>
        </p:spPr>
        <p:txBody>
          <a:bodyPr lIns="0" tIns="0" rIns="0" bIns="576000" anchor="b"/>
          <a:lstStyle>
            <a:lvl1pPr marL="0" indent="0" algn="ctr">
              <a:buNone/>
              <a:defRPr sz="800">
                <a:solidFill>
                  <a:schemeClr val="accent4"/>
                </a:solidFill>
              </a:defRPr>
            </a:lvl1pPr>
          </a:lstStyle>
          <a:p>
            <a:r>
              <a:rPr lang="de-DE" noProof="0"/>
              <a:t>Fügen Sie ein Bild über Klicken auf das Symbol ein. </a:t>
            </a:r>
            <a:br>
              <a:rPr lang="de-DE" noProof="0"/>
            </a:br>
            <a:br>
              <a:rPr lang="de-DE" noProof="0"/>
            </a:br>
            <a:r>
              <a:rPr lang="de-DE" noProof="0"/>
              <a:t>Alternativ kopieren Sie ein Bild in die Zwischenablage, </a:t>
            </a:r>
            <a:br>
              <a:rPr lang="de-DE" noProof="0"/>
            </a:br>
            <a:r>
              <a:rPr lang="de-DE" noProof="0"/>
              <a:t>wählen Sie den Platzhalter an und klicken Sie einfügen. </a:t>
            </a:r>
          </a:p>
        </p:txBody>
      </p:sp>
      <p:sp>
        <p:nvSpPr>
          <p:cNvPr id="10" name="Textplatzhalter 14">
            <a:extLst>
              <a:ext uri="{FF2B5EF4-FFF2-40B4-BE49-F238E27FC236}">
                <a16:creationId xmlns:a16="http://schemas.microsoft.com/office/drawing/2014/main" id="{7CE806B6-1279-4030-A8DE-41213B965FF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>
          <a:xfrm>
            <a:off x="336550" y="1411288"/>
            <a:ext cx="2770188" cy="5041901"/>
          </a:xfrm>
        </p:spPr>
        <p:txBody>
          <a:bodyPr rIns="144000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161391396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F211E17-AEA1-4E11-9AC2-3A2199F9115D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noProof="0"/>
              <a:t>Click to edit Master title style</a:t>
            </a:r>
            <a:endParaRPr lang="de-DE" noProof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0358B7C0-0247-405F-8559-68AEBF15D2A5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B600E49A-8649-4AAC-A85A-83741020B512}" type="datetime1">
              <a:rPr lang="de-DE" noProof="0" smtClean="0"/>
              <a:t>22.10.2023</a:t>
            </a:fld>
            <a:endParaRPr lang="de-DE" sz="800" noProof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66AEAC1-3766-423F-81D5-D7FAEFFA55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pPr algn="ctr"/>
            <a:r>
              <a:rPr lang="de-DE" noProof="0"/>
              <a:t>Commerzbank AG, Max Mustermann, GM-C Brand Management 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1E4EAF3-3870-400C-8EC4-AC9F3893DE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CAEFDB47-5D1C-45E7-8BD0-EF74349B00F7}" type="slidenum">
              <a:rPr lang="de-DE" noProof="0" smtClean="0"/>
              <a:pPr/>
              <a:t>‹#›</a:t>
            </a:fld>
            <a:endParaRPr lang="de-DE" b="0" noProof="0"/>
          </a:p>
        </p:txBody>
      </p:sp>
      <p:sp>
        <p:nvSpPr>
          <p:cNvPr id="8" name="Bildplatzhalter 8">
            <a:extLst>
              <a:ext uri="{FF2B5EF4-FFF2-40B4-BE49-F238E27FC236}">
                <a16:creationId xmlns:a16="http://schemas.microsoft.com/office/drawing/2014/main" id="{C1CE1843-50B6-43F2-940C-3D088A7ED44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336550" y="1411288"/>
            <a:ext cx="11518899" cy="5041900"/>
          </a:xfrm>
          <a:noFill/>
        </p:spPr>
        <p:txBody>
          <a:bodyPr lIns="0" tIns="0" rIns="0" bIns="576000" anchor="b"/>
          <a:lstStyle>
            <a:lvl1pPr marL="0" indent="0" algn="ctr">
              <a:buNone/>
              <a:defRPr sz="800">
                <a:solidFill>
                  <a:schemeClr val="accent4"/>
                </a:solidFill>
              </a:defRPr>
            </a:lvl1pPr>
          </a:lstStyle>
          <a:p>
            <a:r>
              <a:rPr lang="de-DE" noProof="0"/>
              <a:t>Fügen Sie ein Bild über Klicken auf das Symbol ein. </a:t>
            </a:r>
            <a:br>
              <a:rPr lang="de-DE" noProof="0"/>
            </a:br>
            <a:br>
              <a:rPr lang="de-DE" noProof="0"/>
            </a:br>
            <a:r>
              <a:rPr lang="de-DE" noProof="0"/>
              <a:t>Alternativ kopieren Sie ein Bild in die Zwischenablage, </a:t>
            </a:r>
            <a:br>
              <a:rPr lang="de-DE" noProof="0"/>
            </a:br>
            <a:r>
              <a:rPr lang="de-DE" noProof="0"/>
              <a:t>wählen Sie den Platzhalter an und klicken Sie einfügen. </a:t>
            </a:r>
          </a:p>
        </p:txBody>
      </p:sp>
    </p:spTree>
    <p:extLst>
      <p:ext uri="{BB962C8B-B14F-4D97-AF65-F5344CB8AC3E}">
        <p14:creationId xmlns:p14="http://schemas.microsoft.com/office/powerpoint/2010/main" val="192706163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x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F211E17-AEA1-4E11-9AC2-3A2199F9115D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noProof="0"/>
              <a:t>Click to edit Master title style</a:t>
            </a:r>
            <a:endParaRPr lang="de-DE" noProof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0358B7C0-0247-405F-8559-68AEBF15D2A5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B600E49A-8649-4AAC-A85A-83741020B512}" type="datetime1">
              <a:rPr lang="de-DE" noProof="0" smtClean="0"/>
              <a:t>22.10.2023</a:t>
            </a:fld>
            <a:endParaRPr lang="de-DE" sz="800" noProof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66AEAC1-3766-423F-81D5-D7FAEFFA55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pPr algn="ctr"/>
            <a:r>
              <a:rPr lang="de-DE" noProof="0"/>
              <a:t>Commerzbank AG, Max Mustermann, GM-C Brand Management 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1E4EAF3-3870-400C-8EC4-AC9F3893DE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CAEFDB47-5D1C-45E7-8BD0-EF74349B00F7}" type="slidenum">
              <a:rPr lang="de-DE" noProof="0" smtClean="0"/>
              <a:pPr/>
              <a:t>‹#›</a:t>
            </a:fld>
            <a:endParaRPr lang="de-DE" b="0" noProof="0"/>
          </a:p>
        </p:txBody>
      </p:sp>
      <p:sp>
        <p:nvSpPr>
          <p:cNvPr id="8" name="Bildplatzhalter 8">
            <a:extLst>
              <a:ext uri="{FF2B5EF4-FFF2-40B4-BE49-F238E27FC236}">
                <a16:creationId xmlns:a16="http://schemas.microsoft.com/office/drawing/2014/main" id="{C1CE1843-50B6-43F2-940C-3D088A7ED44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336550" y="1411288"/>
            <a:ext cx="5688011" cy="5041900"/>
          </a:xfrm>
          <a:noFill/>
        </p:spPr>
        <p:txBody>
          <a:bodyPr lIns="0" tIns="0" rIns="0" bIns="576000" anchor="b"/>
          <a:lstStyle>
            <a:lvl1pPr marL="0" indent="0" algn="ctr">
              <a:buNone/>
              <a:defRPr sz="800">
                <a:solidFill>
                  <a:schemeClr val="accent4"/>
                </a:solidFill>
              </a:defRPr>
            </a:lvl1pPr>
          </a:lstStyle>
          <a:p>
            <a:r>
              <a:rPr lang="de-DE" noProof="0"/>
              <a:t>Fügen Sie ein Bild über Klicken auf das Symbol ein. </a:t>
            </a:r>
            <a:br>
              <a:rPr lang="de-DE" noProof="0"/>
            </a:br>
            <a:br>
              <a:rPr lang="de-DE" noProof="0"/>
            </a:br>
            <a:r>
              <a:rPr lang="de-DE" noProof="0"/>
              <a:t>Alternativ kopieren Sie ein Bild in die Zwischenablage, </a:t>
            </a:r>
            <a:br>
              <a:rPr lang="de-DE" noProof="0"/>
            </a:br>
            <a:r>
              <a:rPr lang="de-DE" noProof="0"/>
              <a:t>wählen Sie den Platzhalter an und klicken Sie einfügen. </a:t>
            </a:r>
          </a:p>
        </p:txBody>
      </p:sp>
      <p:sp>
        <p:nvSpPr>
          <p:cNvPr id="7" name="Bildplatzhalter 8">
            <a:extLst>
              <a:ext uri="{FF2B5EF4-FFF2-40B4-BE49-F238E27FC236}">
                <a16:creationId xmlns:a16="http://schemas.microsoft.com/office/drawing/2014/main" id="{B1A47615-1FA6-4D87-AF71-A2E9F981AA6B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6167437" y="1411288"/>
            <a:ext cx="5688011" cy="5041900"/>
          </a:xfrm>
          <a:noFill/>
        </p:spPr>
        <p:txBody>
          <a:bodyPr lIns="0" tIns="0" rIns="0" bIns="576000" anchor="b"/>
          <a:lstStyle>
            <a:lvl1pPr marL="0" indent="0" algn="ctr">
              <a:buNone/>
              <a:defRPr sz="800">
                <a:solidFill>
                  <a:schemeClr val="accent4"/>
                </a:solidFill>
              </a:defRPr>
            </a:lvl1pPr>
          </a:lstStyle>
          <a:p>
            <a:r>
              <a:rPr lang="de-DE" noProof="0"/>
              <a:t>Fügen Sie ein Bild über Klicken auf das Symbol ein. </a:t>
            </a:r>
            <a:br>
              <a:rPr lang="de-DE" noProof="0"/>
            </a:br>
            <a:br>
              <a:rPr lang="de-DE" noProof="0"/>
            </a:br>
            <a:r>
              <a:rPr lang="de-DE" noProof="0"/>
              <a:t>Alternativ kopieren Sie ein Bild in die Zwischenablage, </a:t>
            </a:r>
            <a:br>
              <a:rPr lang="de-DE" noProof="0"/>
            </a:br>
            <a:r>
              <a:rPr lang="de-DE" noProof="0"/>
              <a:t>wählen Sie den Platzhalter an und klicken Sie einfügen. </a:t>
            </a:r>
          </a:p>
        </p:txBody>
      </p:sp>
    </p:spTree>
    <p:extLst>
      <p:ext uri="{BB962C8B-B14F-4D97-AF65-F5344CB8AC3E}">
        <p14:creationId xmlns:p14="http://schemas.microsoft.com/office/powerpoint/2010/main" val="386146810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x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F211E17-AEA1-4E11-9AC2-3A2199F9115D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noProof="0"/>
              <a:t>Click to edit Master title style</a:t>
            </a:r>
            <a:endParaRPr lang="de-DE" noProof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0358B7C0-0247-405F-8559-68AEBF15D2A5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B600E49A-8649-4AAC-A85A-83741020B512}" type="datetime1">
              <a:rPr lang="de-DE" noProof="0" smtClean="0"/>
              <a:t>22.10.2023</a:t>
            </a:fld>
            <a:endParaRPr lang="de-DE" sz="800" noProof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66AEAC1-3766-423F-81D5-D7FAEFFA55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pPr algn="ctr"/>
            <a:r>
              <a:rPr lang="de-DE" noProof="0"/>
              <a:t>Commerzbank AG, Max Mustermann, GM-C Brand Management 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1E4EAF3-3870-400C-8EC4-AC9F3893DE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CAEFDB47-5D1C-45E7-8BD0-EF74349B00F7}" type="slidenum">
              <a:rPr lang="de-DE" noProof="0" smtClean="0"/>
              <a:pPr/>
              <a:t>‹#›</a:t>
            </a:fld>
            <a:endParaRPr lang="de-DE" b="0" noProof="0"/>
          </a:p>
        </p:txBody>
      </p:sp>
      <p:sp>
        <p:nvSpPr>
          <p:cNvPr id="8" name="Bildplatzhalter 8">
            <a:extLst>
              <a:ext uri="{FF2B5EF4-FFF2-40B4-BE49-F238E27FC236}">
                <a16:creationId xmlns:a16="http://schemas.microsoft.com/office/drawing/2014/main" id="{C1CE1843-50B6-43F2-940C-3D088A7ED44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336551" y="1411288"/>
            <a:ext cx="3743324" cy="5041900"/>
          </a:xfrm>
          <a:noFill/>
        </p:spPr>
        <p:txBody>
          <a:bodyPr lIns="0" tIns="0" rIns="0" bIns="576000" anchor="b"/>
          <a:lstStyle>
            <a:lvl1pPr marL="0" indent="0" algn="ctr">
              <a:buNone/>
              <a:defRPr sz="800">
                <a:solidFill>
                  <a:schemeClr val="accent4"/>
                </a:solidFill>
              </a:defRPr>
            </a:lvl1pPr>
          </a:lstStyle>
          <a:p>
            <a:r>
              <a:rPr lang="de-DE" noProof="0"/>
              <a:t>Fügen Sie ein Bild über Klicken auf das Symbol ein. </a:t>
            </a:r>
            <a:br>
              <a:rPr lang="de-DE" noProof="0"/>
            </a:br>
            <a:br>
              <a:rPr lang="de-DE" noProof="0"/>
            </a:br>
            <a:r>
              <a:rPr lang="de-DE" noProof="0"/>
              <a:t>Alternativ kopieren Sie ein Bild in die Zwischenablage, </a:t>
            </a:r>
            <a:br>
              <a:rPr lang="de-DE" noProof="0"/>
            </a:br>
            <a:r>
              <a:rPr lang="de-DE" noProof="0"/>
              <a:t>wählen Sie den Platzhalter an und klicken Sie einfügen. </a:t>
            </a:r>
          </a:p>
        </p:txBody>
      </p:sp>
      <p:sp>
        <p:nvSpPr>
          <p:cNvPr id="7" name="Bildplatzhalter 8">
            <a:extLst>
              <a:ext uri="{FF2B5EF4-FFF2-40B4-BE49-F238E27FC236}">
                <a16:creationId xmlns:a16="http://schemas.microsoft.com/office/drawing/2014/main" id="{B1A47615-1FA6-4D87-AF71-A2E9F981AA6B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4224338" y="1411288"/>
            <a:ext cx="3743324" cy="5041900"/>
          </a:xfrm>
          <a:noFill/>
        </p:spPr>
        <p:txBody>
          <a:bodyPr lIns="0" tIns="0" rIns="0" bIns="576000" anchor="b"/>
          <a:lstStyle>
            <a:lvl1pPr marL="0" indent="0" algn="ctr">
              <a:buNone/>
              <a:defRPr sz="800">
                <a:solidFill>
                  <a:schemeClr val="accent4"/>
                </a:solidFill>
              </a:defRPr>
            </a:lvl1pPr>
          </a:lstStyle>
          <a:p>
            <a:r>
              <a:rPr lang="de-DE" noProof="0"/>
              <a:t>Fügen Sie ein Bild über Klicken auf das Symbol ein. </a:t>
            </a:r>
            <a:br>
              <a:rPr lang="de-DE" noProof="0"/>
            </a:br>
            <a:br>
              <a:rPr lang="de-DE" noProof="0"/>
            </a:br>
            <a:r>
              <a:rPr lang="de-DE" noProof="0"/>
              <a:t>Alternativ kopieren Sie ein Bild in die Zwischenablage, </a:t>
            </a:r>
            <a:br>
              <a:rPr lang="de-DE" noProof="0"/>
            </a:br>
            <a:r>
              <a:rPr lang="de-DE" noProof="0"/>
              <a:t>wählen Sie den Platzhalter an und klicken Sie einfügen. </a:t>
            </a:r>
          </a:p>
        </p:txBody>
      </p:sp>
      <p:sp>
        <p:nvSpPr>
          <p:cNvPr id="9" name="Bildplatzhalter 8">
            <a:extLst>
              <a:ext uri="{FF2B5EF4-FFF2-40B4-BE49-F238E27FC236}">
                <a16:creationId xmlns:a16="http://schemas.microsoft.com/office/drawing/2014/main" id="{03EAD474-945A-49D3-BA33-F439607C587D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8112126" y="1411288"/>
            <a:ext cx="3743324" cy="5041900"/>
          </a:xfrm>
          <a:noFill/>
        </p:spPr>
        <p:txBody>
          <a:bodyPr lIns="0" tIns="0" rIns="0" bIns="576000" anchor="b"/>
          <a:lstStyle>
            <a:lvl1pPr marL="0" indent="0" algn="ctr">
              <a:buNone/>
              <a:defRPr sz="800">
                <a:solidFill>
                  <a:schemeClr val="accent4"/>
                </a:solidFill>
              </a:defRPr>
            </a:lvl1pPr>
          </a:lstStyle>
          <a:p>
            <a:r>
              <a:rPr lang="de-DE" noProof="0"/>
              <a:t>Fügen Sie ein Bild über Klicken auf das Symbol ein. </a:t>
            </a:r>
            <a:br>
              <a:rPr lang="de-DE" noProof="0"/>
            </a:br>
            <a:br>
              <a:rPr lang="de-DE" noProof="0"/>
            </a:br>
            <a:r>
              <a:rPr lang="de-DE" noProof="0"/>
              <a:t>Alternativ kopieren Sie ein Bild in die Zwischenablage, </a:t>
            </a:r>
            <a:br>
              <a:rPr lang="de-DE" noProof="0"/>
            </a:br>
            <a:r>
              <a:rPr lang="de-DE" noProof="0"/>
              <a:t>wählen Sie den Platzhalter an und klicken Sie einfügen. </a:t>
            </a:r>
          </a:p>
        </p:txBody>
      </p:sp>
    </p:spTree>
    <p:extLst>
      <p:ext uri="{BB962C8B-B14F-4D97-AF65-F5344CB8AC3E}">
        <p14:creationId xmlns:p14="http://schemas.microsoft.com/office/powerpoint/2010/main" val="141578883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Petrol / Imag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9A50A06-F1AD-43B0-B0C8-484379FAC66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invGray">
          <a:xfrm>
            <a:off x="336550" y="1412874"/>
            <a:ext cx="11518895" cy="3311525"/>
          </a:xfrm>
        </p:spPr>
        <p:txBody>
          <a:bodyPr rIns="0" bIns="144000" anchor="b"/>
          <a:lstStyle>
            <a:lvl1pPr algn="ctr">
              <a:defRPr sz="6600">
                <a:solidFill>
                  <a:schemeClr val="bg1"/>
                </a:solidFill>
              </a:defRPr>
            </a:lvl1pPr>
          </a:lstStyle>
          <a:p>
            <a:r>
              <a:rPr lang="de-DE" noProof="0" dirty="0"/>
              <a:t>Titel der </a:t>
            </a:r>
            <a:br>
              <a:rPr lang="de-DE" noProof="0" dirty="0"/>
            </a:br>
            <a:r>
              <a:rPr lang="de-DE" noProof="0" dirty="0"/>
              <a:t>Präsentation in </a:t>
            </a:r>
            <a:br>
              <a:rPr lang="de-DE" noProof="0" dirty="0"/>
            </a:br>
            <a:r>
              <a:rPr lang="de-DE" noProof="0" dirty="0"/>
              <a:t>maximal drei Zeil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95C52B9B-1FC0-4A8D-A22E-A6CDD9256294}"/>
              </a:ext>
            </a:extLst>
          </p:cNvPr>
          <p:cNvSpPr>
            <a:spLocks noGrp="1"/>
          </p:cNvSpPr>
          <p:nvPr>
            <p:ph type="subTitle" idx="1"/>
          </p:nvPr>
        </p:nvSpPr>
        <p:spPr bwMode="invGray">
          <a:xfrm>
            <a:off x="3251684" y="5445000"/>
            <a:ext cx="5689116" cy="574675"/>
          </a:xfrm>
        </p:spPr>
        <p:txBody>
          <a:bodyPr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bg1"/>
                </a:solidFill>
              </a:defRPr>
            </a:lvl1pPr>
            <a:lvl2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bg1"/>
                </a:solidFill>
              </a:defRPr>
            </a:lvl2pPr>
            <a:lvl3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bg1"/>
                </a:solidFill>
              </a:defRPr>
            </a:lvl3pPr>
            <a:lvl4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bg1"/>
                </a:solidFill>
              </a:defRPr>
            </a:lvl4pPr>
            <a:lvl5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bg1"/>
                </a:solidFill>
              </a:defRPr>
            </a:lvl5pPr>
            <a:lvl6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bg1"/>
                </a:solidFill>
              </a:defRPr>
            </a:lvl6pPr>
            <a:lvl7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bg1"/>
                </a:solidFill>
              </a:defRPr>
            </a:lvl7pPr>
            <a:lvl8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bg1"/>
                </a:solidFill>
              </a:defRPr>
            </a:lvl8pPr>
            <a:lvl9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edit Master subtitle style</a:t>
            </a:r>
            <a:endParaRPr lang="de-DE" noProof="0"/>
          </a:p>
        </p:txBody>
      </p:sp>
      <p:sp>
        <p:nvSpPr>
          <p:cNvPr id="12" name="Google Shape;192;p37">
            <a:extLst>
              <a:ext uri="{FF2B5EF4-FFF2-40B4-BE49-F238E27FC236}">
                <a16:creationId xmlns:a16="http://schemas.microsoft.com/office/drawing/2014/main" id="{A89D66A7-79C9-49DD-B8D8-7E63C48072E6}"/>
              </a:ext>
            </a:extLst>
          </p:cNvPr>
          <p:cNvSpPr/>
          <p:nvPr userDrawn="1"/>
        </p:nvSpPr>
        <p:spPr bwMode="gray">
          <a:xfrm>
            <a:off x="5232000" y="4868863"/>
            <a:ext cx="1731102" cy="142423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>
            <a:noFill/>
          </a:ln>
        </p:spPr>
        <p:txBody>
          <a:bodyPr spcFirstLastPara="1" wrap="square" lIns="91450" tIns="45700" rIns="91450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de-DE" sz="1800" noProof="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6E7008C-2C7E-41ED-9F05-C6A0BDF77AAA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inv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F3C716E-955A-4705-A6BC-8CA8EC030986}" type="datetime1">
              <a:rPr lang="de-DE" noProof="0" smtClean="0"/>
              <a:t>22.10.2023</a:t>
            </a:fld>
            <a:endParaRPr lang="de-DE" noProof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4C2CF0B-622F-4545-BE11-8DDD05100C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inv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Commerzbank AG, Anton Mattuschat, GS-TF 13 </a:t>
            </a:r>
            <a:r>
              <a:rPr lang="de-DE" dirty="0" err="1"/>
              <a:t>Operations</a:t>
            </a:r>
            <a:r>
              <a:rPr lang="de-DE" dirty="0"/>
              <a:t> &amp; </a:t>
            </a:r>
            <a:r>
              <a:rPr lang="de-DE" dirty="0" err="1"/>
              <a:t>Monetoring</a:t>
            </a:r>
            <a:r>
              <a:rPr lang="de-DE" dirty="0"/>
              <a:t> </a:t>
            </a:r>
            <a:endParaRPr lang="de-DE" noProof="0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EE393D8-FCE9-4E38-87AE-611557F692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inv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AEFDB47-5D1C-45E7-8BD0-EF74349B00F7}" type="slidenum">
              <a:rPr lang="de-DE" noProof="0" smtClean="0"/>
              <a:pPr/>
              <a:t>‹#›</a:t>
            </a:fld>
            <a:endParaRPr lang="de-DE" noProof="0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5021966A-CBBE-D2A6-FF66-B01E60B2680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invGray">
          <a:xfrm>
            <a:off x="5519738" y="520486"/>
            <a:ext cx="1152526" cy="7683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603234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x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F211E17-AEA1-4E11-9AC2-3A2199F9115D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noProof="0"/>
              <a:t>Click to edit Master title style</a:t>
            </a:r>
            <a:endParaRPr lang="de-DE" noProof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0358B7C0-0247-405F-8559-68AEBF15D2A5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B600E49A-8649-4AAC-A85A-83741020B512}" type="datetime1">
              <a:rPr lang="de-DE" noProof="0" smtClean="0"/>
              <a:t>22.10.2023</a:t>
            </a:fld>
            <a:endParaRPr lang="de-DE" sz="800" noProof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66AEAC1-3766-423F-81D5-D7FAEFFA55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pPr algn="ctr"/>
            <a:r>
              <a:rPr lang="de-DE" noProof="0"/>
              <a:t>Commerzbank AG, Max Mustermann, GM-C Brand Management 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1E4EAF3-3870-400C-8EC4-AC9F3893DE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CAEFDB47-5D1C-45E7-8BD0-EF74349B00F7}" type="slidenum">
              <a:rPr lang="de-DE" noProof="0" smtClean="0"/>
              <a:pPr/>
              <a:t>‹#›</a:t>
            </a:fld>
            <a:endParaRPr lang="de-DE" b="0" noProof="0"/>
          </a:p>
        </p:txBody>
      </p:sp>
      <p:sp>
        <p:nvSpPr>
          <p:cNvPr id="8" name="Bildplatzhalter 8">
            <a:extLst>
              <a:ext uri="{FF2B5EF4-FFF2-40B4-BE49-F238E27FC236}">
                <a16:creationId xmlns:a16="http://schemas.microsoft.com/office/drawing/2014/main" id="{C1CE1843-50B6-43F2-940C-3D088A7ED44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336550" y="1411288"/>
            <a:ext cx="2773155" cy="5041900"/>
          </a:xfrm>
          <a:noFill/>
        </p:spPr>
        <p:txBody>
          <a:bodyPr lIns="0" tIns="0" rIns="0" bIns="576000" anchor="b"/>
          <a:lstStyle>
            <a:lvl1pPr marL="0" indent="0" algn="ctr">
              <a:buNone/>
              <a:defRPr sz="800">
                <a:solidFill>
                  <a:schemeClr val="accent4"/>
                </a:solidFill>
              </a:defRPr>
            </a:lvl1pPr>
          </a:lstStyle>
          <a:p>
            <a:r>
              <a:rPr lang="de-DE" noProof="0"/>
              <a:t>Fügen Sie ein Bild über Klicken auf das Symbol ein. </a:t>
            </a:r>
            <a:br>
              <a:rPr lang="de-DE" noProof="0"/>
            </a:br>
            <a:br>
              <a:rPr lang="de-DE" noProof="0"/>
            </a:br>
            <a:r>
              <a:rPr lang="de-DE" noProof="0"/>
              <a:t>Alternativ kopieren Sie ein Bild in die Zwischenablage, </a:t>
            </a:r>
            <a:br>
              <a:rPr lang="de-DE" noProof="0"/>
            </a:br>
            <a:r>
              <a:rPr lang="de-DE" noProof="0"/>
              <a:t>wählen Sie den Platzhalter an und klicken Sie einfügen. </a:t>
            </a:r>
          </a:p>
        </p:txBody>
      </p:sp>
      <p:sp>
        <p:nvSpPr>
          <p:cNvPr id="7" name="Bildplatzhalter 8">
            <a:extLst>
              <a:ext uri="{FF2B5EF4-FFF2-40B4-BE49-F238E27FC236}">
                <a16:creationId xmlns:a16="http://schemas.microsoft.com/office/drawing/2014/main" id="{B1A47615-1FA6-4D87-AF71-A2E9F981AA6B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3251407" y="1411288"/>
            <a:ext cx="2773155" cy="5041900"/>
          </a:xfrm>
          <a:noFill/>
        </p:spPr>
        <p:txBody>
          <a:bodyPr lIns="0" tIns="0" rIns="0" bIns="576000" anchor="b"/>
          <a:lstStyle>
            <a:lvl1pPr marL="0" indent="0" algn="ctr">
              <a:buNone/>
              <a:defRPr sz="800">
                <a:solidFill>
                  <a:schemeClr val="accent4"/>
                </a:solidFill>
              </a:defRPr>
            </a:lvl1pPr>
          </a:lstStyle>
          <a:p>
            <a:r>
              <a:rPr lang="de-DE" noProof="0"/>
              <a:t>Fügen Sie ein Bild über Klicken auf das Symbol ein. </a:t>
            </a:r>
            <a:br>
              <a:rPr lang="de-DE" noProof="0"/>
            </a:br>
            <a:br>
              <a:rPr lang="de-DE" noProof="0"/>
            </a:br>
            <a:r>
              <a:rPr lang="de-DE" noProof="0"/>
              <a:t>Alternativ kopieren Sie ein Bild in die Zwischenablage, </a:t>
            </a:r>
            <a:br>
              <a:rPr lang="de-DE" noProof="0"/>
            </a:br>
            <a:r>
              <a:rPr lang="de-DE" noProof="0"/>
              <a:t>wählen Sie den Platzhalter an und klicken Sie einfügen. </a:t>
            </a:r>
          </a:p>
        </p:txBody>
      </p:sp>
      <p:sp>
        <p:nvSpPr>
          <p:cNvPr id="9" name="Bildplatzhalter 8">
            <a:extLst>
              <a:ext uri="{FF2B5EF4-FFF2-40B4-BE49-F238E27FC236}">
                <a16:creationId xmlns:a16="http://schemas.microsoft.com/office/drawing/2014/main" id="{03EAD474-945A-49D3-BA33-F439607C587D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6167437" y="1411288"/>
            <a:ext cx="2773155" cy="5041900"/>
          </a:xfrm>
          <a:noFill/>
        </p:spPr>
        <p:txBody>
          <a:bodyPr lIns="0" tIns="0" rIns="0" bIns="576000" anchor="b"/>
          <a:lstStyle>
            <a:lvl1pPr marL="0" indent="0" algn="ctr">
              <a:buNone/>
              <a:defRPr sz="800">
                <a:solidFill>
                  <a:schemeClr val="accent4"/>
                </a:solidFill>
              </a:defRPr>
            </a:lvl1pPr>
          </a:lstStyle>
          <a:p>
            <a:r>
              <a:rPr lang="de-DE" noProof="0"/>
              <a:t>Fügen Sie ein Bild über Klicken auf das Symbol ein. </a:t>
            </a:r>
            <a:br>
              <a:rPr lang="de-DE" noProof="0"/>
            </a:br>
            <a:br>
              <a:rPr lang="de-DE" noProof="0"/>
            </a:br>
            <a:r>
              <a:rPr lang="de-DE" noProof="0"/>
              <a:t>Alternativ kopieren Sie ein Bild in die Zwischenablage, </a:t>
            </a:r>
            <a:br>
              <a:rPr lang="de-DE" noProof="0"/>
            </a:br>
            <a:r>
              <a:rPr lang="de-DE" noProof="0"/>
              <a:t>wählen Sie den Platzhalter an und klicken Sie einfügen. </a:t>
            </a:r>
          </a:p>
        </p:txBody>
      </p:sp>
      <p:sp>
        <p:nvSpPr>
          <p:cNvPr id="14" name="Bildplatzhalter 8">
            <a:extLst>
              <a:ext uri="{FF2B5EF4-FFF2-40B4-BE49-F238E27FC236}">
                <a16:creationId xmlns:a16="http://schemas.microsoft.com/office/drawing/2014/main" id="{20157F93-CAFF-4A26-B7A5-93B3E4E943BE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9082568" y="1411288"/>
            <a:ext cx="2773155" cy="5041900"/>
          </a:xfrm>
          <a:noFill/>
        </p:spPr>
        <p:txBody>
          <a:bodyPr lIns="0" tIns="0" rIns="0" bIns="576000" anchor="b"/>
          <a:lstStyle>
            <a:lvl1pPr marL="0" indent="0" algn="ctr">
              <a:buNone/>
              <a:defRPr sz="800">
                <a:solidFill>
                  <a:schemeClr val="accent4"/>
                </a:solidFill>
              </a:defRPr>
            </a:lvl1pPr>
          </a:lstStyle>
          <a:p>
            <a:r>
              <a:rPr lang="de-DE" noProof="0"/>
              <a:t>Fügen Sie ein Bild über Klicken auf das Symbol ein. </a:t>
            </a:r>
            <a:br>
              <a:rPr lang="de-DE" noProof="0"/>
            </a:br>
            <a:br>
              <a:rPr lang="de-DE" noProof="0"/>
            </a:br>
            <a:r>
              <a:rPr lang="de-DE" noProof="0"/>
              <a:t>Alternativ kopieren Sie ein Bild in die Zwischenablage, </a:t>
            </a:r>
            <a:br>
              <a:rPr lang="de-DE" noProof="0"/>
            </a:br>
            <a:r>
              <a:rPr lang="de-DE" noProof="0"/>
              <a:t>wählen Sie den Platzhalter an und klicken Sie einfügen. </a:t>
            </a:r>
          </a:p>
        </p:txBody>
      </p:sp>
    </p:spTree>
    <p:extLst>
      <p:ext uri="{BB962C8B-B14F-4D97-AF65-F5344CB8AC3E}">
        <p14:creationId xmlns:p14="http://schemas.microsoft.com/office/powerpoint/2010/main" val="66649520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x Picture Coll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F211E17-AEA1-4E11-9AC2-3A2199F9115D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noProof="0"/>
              <a:t>Click to edit Master title style</a:t>
            </a:r>
            <a:endParaRPr lang="de-DE" noProof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0358B7C0-0247-405F-8559-68AEBF15D2A5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B600E49A-8649-4AAC-A85A-83741020B512}" type="datetime1">
              <a:rPr lang="de-DE" noProof="0" smtClean="0"/>
              <a:t>22.10.2023</a:t>
            </a:fld>
            <a:endParaRPr lang="de-DE" sz="800" noProof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66AEAC1-3766-423F-81D5-D7FAEFFA55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pPr algn="ctr"/>
            <a:r>
              <a:rPr lang="de-DE" noProof="0"/>
              <a:t>Commerzbank AG, Max Mustermann, GM-C Brand Management 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1E4EAF3-3870-400C-8EC4-AC9F3893DE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CAEFDB47-5D1C-45E7-8BD0-EF74349B00F7}" type="slidenum">
              <a:rPr lang="de-DE" noProof="0" smtClean="0"/>
              <a:pPr/>
              <a:t>‹#›</a:t>
            </a:fld>
            <a:endParaRPr lang="de-DE" b="0" noProof="0"/>
          </a:p>
        </p:txBody>
      </p:sp>
      <p:sp>
        <p:nvSpPr>
          <p:cNvPr id="18" name="Bildplatzhalter 8">
            <a:extLst>
              <a:ext uri="{FF2B5EF4-FFF2-40B4-BE49-F238E27FC236}">
                <a16:creationId xmlns:a16="http://schemas.microsoft.com/office/drawing/2014/main" id="{9A623B57-1102-44D9-B1B6-4E17A68D9324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336551" y="1411288"/>
            <a:ext cx="3743324" cy="2449512"/>
          </a:xfrm>
          <a:noFill/>
        </p:spPr>
        <p:txBody>
          <a:bodyPr lIns="0" tIns="0" rIns="0" bIns="576000" anchor="b"/>
          <a:lstStyle>
            <a:lvl1pPr marL="0" indent="0" algn="ctr">
              <a:buNone/>
              <a:defRPr sz="800">
                <a:solidFill>
                  <a:schemeClr val="accent4"/>
                </a:solidFill>
              </a:defRPr>
            </a:lvl1pPr>
          </a:lstStyle>
          <a:p>
            <a:r>
              <a:rPr lang="de-DE" noProof="0"/>
              <a:t>Fügen Sie ein Bild über Klicken auf das Symbol ein. </a:t>
            </a:r>
            <a:br>
              <a:rPr lang="de-DE" noProof="0"/>
            </a:br>
            <a:br>
              <a:rPr lang="de-DE" noProof="0"/>
            </a:br>
            <a:r>
              <a:rPr lang="de-DE" noProof="0"/>
              <a:t>Alternativ kopieren Sie ein Bild in die Zwischenablage, </a:t>
            </a:r>
            <a:br>
              <a:rPr lang="de-DE" noProof="0"/>
            </a:br>
            <a:r>
              <a:rPr lang="de-DE" noProof="0"/>
              <a:t>wählen Sie den Platzhalter an und klicken Sie einfügen. </a:t>
            </a:r>
          </a:p>
        </p:txBody>
      </p:sp>
      <p:sp>
        <p:nvSpPr>
          <p:cNvPr id="19" name="Bildplatzhalter 8">
            <a:extLst>
              <a:ext uri="{FF2B5EF4-FFF2-40B4-BE49-F238E27FC236}">
                <a16:creationId xmlns:a16="http://schemas.microsoft.com/office/drawing/2014/main" id="{A82A0161-3FE9-4403-AE5C-565B29333E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4224338" y="1411288"/>
            <a:ext cx="3743324" cy="5041900"/>
          </a:xfrm>
          <a:noFill/>
        </p:spPr>
        <p:txBody>
          <a:bodyPr lIns="0" tIns="0" rIns="0" bIns="576000" anchor="b"/>
          <a:lstStyle>
            <a:lvl1pPr marL="0" indent="0" algn="ctr">
              <a:buNone/>
              <a:defRPr sz="800">
                <a:solidFill>
                  <a:schemeClr val="accent4"/>
                </a:solidFill>
              </a:defRPr>
            </a:lvl1pPr>
          </a:lstStyle>
          <a:p>
            <a:r>
              <a:rPr lang="de-DE" noProof="0"/>
              <a:t>Fügen Sie ein Bild über Klicken auf das Symbol ein. </a:t>
            </a:r>
            <a:br>
              <a:rPr lang="de-DE" noProof="0"/>
            </a:br>
            <a:br>
              <a:rPr lang="de-DE" noProof="0"/>
            </a:br>
            <a:r>
              <a:rPr lang="de-DE" noProof="0"/>
              <a:t>Alternativ kopieren Sie ein Bild in die Zwischenablage, </a:t>
            </a:r>
            <a:br>
              <a:rPr lang="de-DE" noProof="0"/>
            </a:br>
            <a:r>
              <a:rPr lang="de-DE" noProof="0"/>
              <a:t>wählen Sie den Platzhalter an und klicken Sie einfügen. </a:t>
            </a:r>
          </a:p>
        </p:txBody>
      </p:sp>
      <p:sp>
        <p:nvSpPr>
          <p:cNvPr id="20" name="Bildplatzhalter 8">
            <a:extLst>
              <a:ext uri="{FF2B5EF4-FFF2-40B4-BE49-F238E27FC236}">
                <a16:creationId xmlns:a16="http://schemas.microsoft.com/office/drawing/2014/main" id="{C24B0E04-EF03-4201-BA65-AA421A728B0A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8112126" y="1411288"/>
            <a:ext cx="3743324" cy="2447925"/>
          </a:xfrm>
          <a:noFill/>
        </p:spPr>
        <p:txBody>
          <a:bodyPr lIns="0" tIns="0" rIns="0" bIns="576000" anchor="b"/>
          <a:lstStyle>
            <a:lvl1pPr marL="0" indent="0" algn="ctr">
              <a:buNone/>
              <a:defRPr sz="800">
                <a:solidFill>
                  <a:schemeClr val="accent4"/>
                </a:solidFill>
              </a:defRPr>
            </a:lvl1pPr>
          </a:lstStyle>
          <a:p>
            <a:r>
              <a:rPr lang="de-DE" noProof="0"/>
              <a:t>Fügen Sie ein Bild über Klicken auf das Symbol ein. </a:t>
            </a:r>
            <a:br>
              <a:rPr lang="de-DE" noProof="0"/>
            </a:br>
            <a:br>
              <a:rPr lang="de-DE" noProof="0"/>
            </a:br>
            <a:r>
              <a:rPr lang="de-DE" noProof="0"/>
              <a:t>Alternativ kopieren Sie ein Bild in die Zwischenablage, </a:t>
            </a:r>
            <a:br>
              <a:rPr lang="de-DE" noProof="0"/>
            </a:br>
            <a:r>
              <a:rPr lang="de-DE" noProof="0"/>
              <a:t>wählen Sie den Platzhalter an und klicken Sie einfügen. </a:t>
            </a:r>
          </a:p>
        </p:txBody>
      </p:sp>
      <p:sp>
        <p:nvSpPr>
          <p:cNvPr id="21" name="Bildplatzhalter 8">
            <a:extLst>
              <a:ext uri="{FF2B5EF4-FFF2-40B4-BE49-F238E27FC236}">
                <a16:creationId xmlns:a16="http://schemas.microsoft.com/office/drawing/2014/main" id="{A058E0CE-3B5A-4CBE-95CF-704E229BEC38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336551" y="4005262"/>
            <a:ext cx="3743324" cy="2447925"/>
          </a:xfrm>
          <a:noFill/>
        </p:spPr>
        <p:txBody>
          <a:bodyPr lIns="0" tIns="0" rIns="0" bIns="576000" anchor="b"/>
          <a:lstStyle>
            <a:lvl1pPr marL="0" indent="0" algn="ctr">
              <a:buNone/>
              <a:defRPr sz="800">
                <a:solidFill>
                  <a:schemeClr val="accent4"/>
                </a:solidFill>
              </a:defRPr>
            </a:lvl1pPr>
          </a:lstStyle>
          <a:p>
            <a:r>
              <a:rPr lang="de-DE" noProof="0"/>
              <a:t>Fügen Sie ein Bild über Klicken auf das Symbol ein. </a:t>
            </a:r>
            <a:br>
              <a:rPr lang="de-DE" noProof="0"/>
            </a:br>
            <a:br>
              <a:rPr lang="de-DE" noProof="0"/>
            </a:br>
            <a:r>
              <a:rPr lang="de-DE" noProof="0"/>
              <a:t>Alternativ kopieren Sie ein Bild in die Zwischenablage, </a:t>
            </a:r>
            <a:br>
              <a:rPr lang="de-DE" noProof="0"/>
            </a:br>
            <a:r>
              <a:rPr lang="de-DE" noProof="0"/>
              <a:t>wählen Sie den Platzhalter an und klicken Sie einfügen. </a:t>
            </a:r>
          </a:p>
        </p:txBody>
      </p:sp>
      <p:sp>
        <p:nvSpPr>
          <p:cNvPr id="22" name="Bildplatzhalter 8">
            <a:extLst>
              <a:ext uri="{FF2B5EF4-FFF2-40B4-BE49-F238E27FC236}">
                <a16:creationId xmlns:a16="http://schemas.microsoft.com/office/drawing/2014/main" id="{78CDFF39-B853-4D83-8433-E4559C626945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8112126" y="4005262"/>
            <a:ext cx="3743324" cy="2447925"/>
          </a:xfrm>
          <a:noFill/>
        </p:spPr>
        <p:txBody>
          <a:bodyPr lIns="0" tIns="0" rIns="0" bIns="576000" anchor="b"/>
          <a:lstStyle>
            <a:lvl1pPr marL="0" indent="0" algn="ctr">
              <a:buNone/>
              <a:defRPr sz="800">
                <a:solidFill>
                  <a:schemeClr val="accent4"/>
                </a:solidFill>
              </a:defRPr>
            </a:lvl1pPr>
          </a:lstStyle>
          <a:p>
            <a:r>
              <a:rPr lang="de-DE" noProof="0"/>
              <a:t>Fügen Sie ein Bild über Klicken auf das Symbol ein. </a:t>
            </a:r>
            <a:br>
              <a:rPr lang="de-DE" noProof="0"/>
            </a:br>
            <a:br>
              <a:rPr lang="de-DE" noProof="0"/>
            </a:br>
            <a:r>
              <a:rPr lang="de-DE" noProof="0"/>
              <a:t>Alternativ kopieren Sie ein Bild in die Zwischenablage, </a:t>
            </a:r>
            <a:br>
              <a:rPr lang="de-DE" noProof="0"/>
            </a:br>
            <a:r>
              <a:rPr lang="de-DE" noProof="0"/>
              <a:t>wählen Sie den Platzhalter an und klicken Sie einfügen. </a:t>
            </a:r>
          </a:p>
        </p:txBody>
      </p:sp>
    </p:spTree>
    <p:extLst>
      <p:ext uri="{BB962C8B-B14F-4D97-AF65-F5344CB8AC3E}">
        <p14:creationId xmlns:p14="http://schemas.microsoft.com/office/powerpoint/2010/main" val="406854415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x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F211E17-AEA1-4E11-9AC2-3A2199F9115D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noProof="0"/>
              <a:t>Click to edit Master title style</a:t>
            </a:r>
            <a:endParaRPr lang="de-DE" noProof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0358B7C0-0247-405F-8559-68AEBF15D2A5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B600E49A-8649-4AAC-A85A-83741020B512}" type="datetime1">
              <a:rPr lang="de-DE" noProof="0" smtClean="0"/>
              <a:t>22.10.2023</a:t>
            </a:fld>
            <a:endParaRPr lang="de-DE" sz="800" noProof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66AEAC1-3766-423F-81D5-D7FAEFFA55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pPr algn="ctr"/>
            <a:r>
              <a:rPr lang="de-DE" noProof="0"/>
              <a:t>Commerzbank AG, Max Mustermann, GM-C Brand Management 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1E4EAF3-3870-400C-8EC4-AC9F3893DE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CAEFDB47-5D1C-45E7-8BD0-EF74349B00F7}" type="slidenum">
              <a:rPr lang="de-DE" noProof="0" smtClean="0"/>
              <a:pPr/>
              <a:t>‹#›</a:t>
            </a:fld>
            <a:endParaRPr lang="de-DE" b="0" noProof="0"/>
          </a:p>
        </p:txBody>
      </p:sp>
      <p:sp>
        <p:nvSpPr>
          <p:cNvPr id="12" name="Bildplatzhalter 8">
            <a:extLst>
              <a:ext uri="{FF2B5EF4-FFF2-40B4-BE49-F238E27FC236}">
                <a16:creationId xmlns:a16="http://schemas.microsoft.com/office/drawing/2014/main" id="{4EF8E4A7-B965-4790-8BDD-1E1DF4817A01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336551" y="1411288"/>
            <a:ext cx="3743324" cy="2449512"/>
          </a:xfrm>
          <a:noFill/>
        </p:spPr>
        <p:txBody>
          <a:bodyPr lIns="0" tIns="0" rIns="0" bIns="576000" anchor="b"/>
          <a:lstStyle>
            <a:lvl1pPr marL="0" indent="0" algn="ctr">
              <a:buNone/>
              <a:defRPr sz="800">
                <a:solidFill>
                  <a:schemeClr val="accent4"/>
                </a:solidFill>
              </a:defRPr>
            </a:lvl1pPr>
          </a:lstStyle>
          <a:p>
            <a:r>
              <a:rPr lang="de-DE" noProof="0"/>
              <a:t>Fügen Sie ein Bild über Klicken auf das Symbol ein. </a:t>
            </a:r>
            <a:br>
              <a:rPr lang="de-DE" noProof="0"/>
            </a:br>
            <a:br>
              <a:rPr lang="de-DE" noProof="0"/>
            </a:br>
            <a:r>
              <a:rPr lang="de-DE" noProof="0"/>
              <a:t>Alternativ kopieren Sie ein Bild in die Zwischenablage, </a:t>
            </a:r>
            <a:br>
              <a:rPr lang="de-DE" noProof="0"/>
            </a:br>
            <a:r>
              <a:rPr lang="de-DE" noProof="0"/>
              <a:t>wählen Sie den Platzhalter an und klicken Sie einfügen. </a:t>
            </a:r>
          </a:p>
        </p:txBody>
      </p:sp>
      <p:sp>
        <p:nvSpPr>
          <p:cNvPr id="13" name="Bildplatzhalter 8">
            <a:extLst>
              <a:ext uri="{FF2B5EF4-FFF2-40B4-BE49-F238E27FC236}">
                <a16:creationId xmlns:a16="http://schemas.microsoft.com/office/drawing/2014/main" id="{C3A95073-1B51-4ADF-8F96-E4C84B1101F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4224338" y="1411288"/>
            <a:ext cx="3743324" cy="2449512"/>
          </a:xfrm>
          <a:noFill/>
        </p:spPr>
        <p:txBody>
          <a:bodyPr lIns="0" tIns="0" rIns="0" bIns="576000" anchor="b"/>
          <a:lstStyle>
            <a:lvl1pPr marL="0" indent="0" algn="ctr">
              <a:buNone/>
              <a:defRPr sz="800">
                <a:solidFill>
                  <a:schemeClr val="accent4"/>
                </a:solidFill>
              </a:defRPr>
            </a:lvl1pPr>
          </a:lstStyle>
          <a:p>
            <a:r>
              <a:rPr lang="de-DE" noProof="0"/>
              <a:t>Fügen Sie ein Bild über Klicken auf das Symbol ein. </a:t>
            </a:r>
            <a:br>
              <a:rPr lang="de-DE" noProof="0"/>
            </a:br>
            <a:br>
              <a:rPr lang="de-DE" noProof="0"/>
            </a:br>
            <a:r>
              <a:rPr lang="de-DE" noProof="0"/>
              <a:t>Alternativ kopieren Sie ein Bild in die Zwischenablage, </a:t>
            </a:r>
            <a:br>
              <a:rPr lang="de-DE" noProof="0"/>
            </a:br>
            <a:r>
              <a:rPr lang="de-DE" noProof="0"/>
              <a:t>wählen Sie den Platzhalter an und klicken Sie einfügen. </a:t>
            </a:r>
          </a:p>
        </p:txBody>
      </p:sp>
      <p:sp>
        <p:nvSpPr>
          <p:cNvPr id="15" name="Bildplatzhalter 8">
            <a:extLst>
              <a:ext uri="{FF2B5EF4-FFF2-40B4-BE49-F238E27FC236}">
                <a16:creationId xmlns:a16="http://schemas.microsoft.com/office/drawing/2014/main" id="{5F59BAA5-C9C9-49A1-BBE9-B7C98BB1589A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8112126" y="1411288"/>
            <a:ext cx="3743324" cy="2449512"/>
          </a:xfrm>
          <a:noFill/>
        </p:spPr>
        <p:txBody>
          <a:bodyPr lIns="0" tIns="0" rIns="0" bIns="576000" anchor="b"/>
          <a:lstStyle>
            <a:lvl1pPr marL="0" indent="0" algn="ctr">
              <a:buNone/>
              <a:defRPr sz="800">
                <a:solidFill>
                  <a:schemeClr val="accent4"/>
                </a:solidFill>
              </a:defRPr>
            </a:lvl1pPr>
          </a:lstStyle>
          <a:p>
            <a:r>
              <a:rPr lang="de-DE" noProof="0"/>
              <a:t>Fügen Sie ein Bild über Klicken auf das Symbol ein. </a:t>
            </a:r>
            <a:br>
              <a:rPr lang="de-DE" noProof="0"/>
            </a:br>
            <a:br>
              <a:rPr lang="de-DE" noProof="0"/>
            </a:br>
            <a:r>
              <a:rPr lang="de-DE" noProof="0"/>
              <a:t>Alternativ kopieren Sie ein Bild in die Zwischenablage, </a:t>
            </a:r>
            <a:br>
              <a:rPr lang="de-DE" noProof="0"/>
            </a:br>
            <a:r>
              <a:rPr lang="de-DE" noProof="0"/>
              <a:t>wählen Sie den Platzhalter an und klicken Sie einfügen. </a:t>
            </a:r>
          </a:p>
        </p:txBody>
      </p:sp>
      <p:sp>
        <p:nvSpPr>
          <p:cNvPr id="16" name="Bildplatzhalter 8">
            <a:extLst>
              <a:ext uri="{FF2B5EF4-FFF2-40B4-BE49-F238E27FC236}">
                <a16:creationId xmlns:a16="http://schemas.microsoft.com/office/drawing/2014/main" id="{E6CF86C4-B871-4E6C-A72D-FE10F8E4213E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336551" y="4005262"/>
            <a:ext cx="3743324" cy="2447925"/>
          </a:xfrm>
          <a:noFill/>
        </p:spPr>
        <p:txBody>
          <a:bodyPr lIns="0" tIns="0" rIns="0" bIns="576000" anchor="b"/>
          <a:lstStyle>
            <a:lvl1pPr marL="0" indent="0" algn="ctr">
              <a:buNone/>
              <a:defRPr sz="800">
                <a:solidFill>
                  <a:schemeClr val="accent4"/>
                </a:solidFill>
              </a:defRPr>
            </a:lvl1pPr>
          </a:lstStyle>
          <a:p>
            <a:r>
              <a:rPr lang="de-DE" noProof="0"/>
              <a:t>Fügen Sie ein Bild über Klicken auf das Symbol ein. </a:t>
            </a:r>
            <a:br>
              <a:rPr lang="de-DE" noProof="0"/>
            </a:br>
            <a:br>
              <a:rPr lang="de-DE" noProof="0"/>
            </a:br>
            <a:r>
              <a:rPr lang="de-DE" noProof="0"/>
              <a:t>Alternativ kopieren Sie ein Bild in die Zwischenablage, </a:t>
            </a:r>
            <a:br>
              <a:rPr lang="de-DE" noProof="0"/>
            </a:br>
            <a:r>
              <a:rPr lang="de-DE" noProof="0"/>
              <a:t>wählen Sie den Platzhalter an und klicken Sie einfügen. </a:t>
            </a:r>
          </a:p>
        </p:txBody>
      </p:sp>
      <p:sp>
        <p:nvSpPr>
          <p:cNvPr id="17" name="Bildplatzhalter 8">
            <a:extLst>
              <a:ext uri="{FF2B5EF4-FFF2-40B4-BE49-F238E27FC236}">
                <a16:creationId xmlns:a16="http://schemas.microsoft.com/office/drawing/2014/main" id="{3C2A06D1-8FFB-41EA-BF69-68EEC7702D25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4224338" y="4005262"/>
            <a:ext cx="3743324" cy="2447925"/>
          </a:xfrm>
          <a:noFill/>
        </p:spPr>
        <p:txBody>
          <a:bodyPr lIns="0" tIns="0" rIns="0" bIns="576000" anchor="b"/>
          <a:lstStyle>
            <a:lvl1pPr marL="0" indent="0" algn="ctr">
              <a:buNone/>
              <a:defRPr sz="800">
                <a:solidFill>
                  <a:schemeClr val="accent4"/>
                </a:solidFill>
              </a:defRPr>
            </a:lvl1pPr>
          </a:lstStyle>
          <a:p>
            <a:r>
              <a:rPr lang="de-DE" noProof="0"/>
              <a:t>Fügen Sie ein Bild über Klicken auf das Symbol ein. </a:t>
            </a:r>
            <a:br>
              <a:rPr lang="de-DE" noProof="0"/>
            </a:br>
            <a:br>
              <a:rPr lang="de-DE" noProof="0"/>
            </a:br>
            <a:r>
              <a:rPr lang="de-DE" noProof="0"/>
              <a:t>Alternativ kopieren Sie ein Bild in die Zwischenablage, </a:t>
            </a:r>
            <a:br>
              <a:rPr lang="de-DE" noProof="0"/>
            </a:br>
            <a:r>
              <a:rPr lang="de-DE" noProof="0"/>
              <a:t>wählen Sie den Platzhalter an und klicken Sie einfügen. </a:t>
            </a:r>
          </a:p>
        </p:txBody>
      </p:sp>
      <p:sp>
        <p:nvSpPr>
          <p:cNvPr id="18" name="Bildplatzhalter 8">
            <a:extLst>
              <a:ext uri="{FF2B5EF4-FFF2-40B4-BE49-F238E27FC236}">
                <a16:creationId xmlns:a16="http://schemas.microsoft.com/office/drawing/2014/main" id="{2C8BF51C-A7F1-4507-BB17-25073365B258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 bwMode="gray">
          <a:xfrm>
            <a:off x="8112126" y="4005262"/>
            <a:ext cx="3743324" cy="2447925"/>
          </a:xfrm>
          <a:noFill/>
        </p:spPr>
        <p:txBody>
          <a:bodyPr lIns="0" tIns="0" rIns="0" bIns="576000" anchor="b"/>
          <a:lstStyle>
            <a:lvl1pPr marL="0" indent="0" algn="ctr">
              <a:buNone/>
              <a:defRPr sz="800">
                <a:solidFill>
                  <a:schemeClr val="accent4"/>
                </a:solidFill>
              </a:defRPr>
            </a:lvl1pPr>
          </a:lstStyle>
          <a:p>
            <a:r>
              <a:rPr lang="de-DE" noProof="0"/>
              <a:t>Fügen Sie ein Bild über Klicken auf das Symbol ein. </a:t>
            </a:r>
            <a:br>
              <a:rPr lang="de-DE" noProof="0"/>
            </a:br>
            <a:br>
              <a:rPr lang="de-DE" noProof="0"/>
            </a:br>
            <a:r>
              <a:rPr lang="de-DE" noProof="0"/>
              <a:t>Alternativ kopieren Sie ein Bild in die Zwischenablage, </a:t>
            </a:r>
            <a:br>
              <a:rPr lang="de-DE" noProof="0"/>
            </a:br>
            <a:r>
              <a:rPr lang="de-DE" noProof="0"/>
              <a:t>wählen Sie den Platzhalter an und klicken Sie einfügen. </a:t>
            </a:r>
          </a:p>
        </p:txBody>
      </p:sp>
    </p:spTree>
    <p:extLst>
      <p:ext uri="{BB962C8B-B14F-4D97-AF65-F5344CB8AC3E}">
        <p14:creationId xmlns:p14="http://schemas.microsoft.com/office/powerpoint/2010/main" val="419318000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4E8E5B0D-9C22-438C-8C31-4E9389D516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52787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4E8E5B0D-9C22-438C-8C31-4E9389D516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platzhalter 6">
            <a:extLst>
              <a:ext uri="{FF2B5EF4-FFF2-40B4-BE49-F238E27FC236}">
                <a16:creationId xmlns:a16="http://schemas.microsoft.com/office/drawing/2014/main" id="{0816DA9D-D2BE-4E0E-A5A8-8715DF27BEE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336550" y="0"/>
            <a:ext cx="11518900" cy="4004667"/>
          </a:xfrm>
        </p:spPr>
        <p:txBody>
          <a:bodyPr wrap="square" anchor="b">
            <a:normAutofit/>
          </a:bodyPr>
          <a:lstStyle>
            <a:lvl1pPr marL="0" indent="0" algn="ctr">
              <a:spcBef>
                <a:spcPts val="0"/>
              </a:spcBef>
              <a:buFont typeface="Arial" panose="020B0604020202020204" pitchFamily="34" charset="0"/>
              <a:buNone/>
              <a:defRPr sz="20000" b="1">
                <a:solidFill>
                  <a:schemeClr val="accent2"/>
                </a:solidFill>
              </a:defRPr>
            </a:lvl1pPr>
            <a:lvl2pPr marL="0" indent="0" algn="ctr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None/>
              <a:defRPr sz="20000" b="1">
                <a:solidFill>
                  <a:schemeClr val="accent2"/>
                </a:solidFill>
              </a:defRPr>
            </a:lvl2pPr>
            <a:lvl3pPr marL="0" indent="0" algn="ctr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None/>
              <a:defRPr sz="20000" b="1">
                <a:solidFill>
                  <a:schemeClr val="accent2"/>
                </a:solidFill>
              </a:defRPr>
            </a:lvl3pPr>
            <a:lvl4pPr marL="0" indent="0" algn="ctr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0" b="1">
                <a:solidFill>
                  <a:schemeClr val="accent2"/>
                </a:solidFill>
              </a:defRPr>
            </a:lvl4pPr>
            <a:lvl5pPr marL="0" indent="0" algn="ctr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0" b="1">
                <a:solidFill>
                  <a:schemeClr val="accent2"/>
                </a:solidFill>
              </a:defRPr>
            </a:lvl5pPr>
            <a:lvl6pPr marL="0" indent="0" algn="ctr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0" b="1">
                <a:solidFill>
                  <a:schemeClr val="accent2"/>
                </a:solidFill>
              </a:defRPr>
            </a:lvl6pPr>
            <a:lvl7pPr marL="0" indent="0" algn="ctr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0" b="1">
                <a:solidFill>
                  <a:schemeClr val="accent2"/>
                </a:solidFill>
              </a:defRPr>
            </a:lvl7pPr>
            <a:lvl8pPr marL="0" indent="0" algn="ctr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0" b="1">
                <a:solidFill>
                  <a:schemeClr val="accent2"/>
                </a:solidFill>
              </a:defRPr>
            </a:lvl8pPr>
            <a:lvl9pPr marL="0" indent="0" algn="ctr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0" b="1">
                <a:solidFill>
                  <a:schemeClr val="accent2"/>
                </a:solidFill>
              </a:defRPr>
            </a:lvl9pPr>
          </a:lstStyle>
          <a:p>
            <a:pPr lvl="0"/>
            <a:r>
              <a:rPr lang="de-DE" noProof="0" dirty="0"/>
              <a:t>100%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1F30E42B-4757-47CD-8114-9C88FB35A22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3251200" y="5155606"/>
            <a:ext cx="5689600" cy="1297582"/>
          </a:xfrm>
        </p:spPr>
        <p:txBody>
          <a:bodyPr/>
          <a:lstStyle>
            <a:lvl1pPr marL="0" indent="0" algn="ctr">
              <a:spcAft>
                <a:spcPts val="0"/>
              </a:spcAft>
              <a:buFont typeface="Arial" panose="020B0604020202020204" pitchFamily="34" charset="0"/>
              <a:buNone/>
              <a:defRPr b="0"/>
            </a:lvl1pPr>
            <a:lvl2pPr marL="0" indent="0" algn="ctr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200" b="0">
                <a:solidFill>
                  <a:schemeClr val="accent1"/>
                </a:solidFill>
              </a:defRPr>
            </a:lvl2pPr>
            <a:lvl3pPr marL="0" indent="0" algn="ctr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200" b="0">
                <a:solidFill>
                  <a:schemeClr val="accent1"/>
                </a:solidFill>
              </a:defRPr>
            </a:lvl3pPr>
            <a:lvl4pPr marL="0" indent="0" algn="ctr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accent1"/>
                </a:solidFill>
              </a:defRPr>
            </a:lvl4pPr>
            <a:lvl5pPr marL="0" indent="0" algn="ctr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accent1"/>
                </a:solidFill>
              </a:defRPr>
            </a:lvl5pPr>
            <a:lvl6pPr marL="0" indent="0" algn="ctr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accent1"/>
                </a:solidFill>
              </a:defRPr>
            </a:lvl6pPr>
            <a:lvl7pPr marL="0" indent="0" algn="ctr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accent1"/>
                </a:solidFill>
              </a:defRPr>
            </a:lvl7pPr>
            <a:lvl8pPr marL="0" indent="0" algn="ctr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accent1"/>
                </a:solidFill>
              </a:defRPr>
            </a:lvl8pPr>
            <a:lvl9pPr marL="0" indent="0" algn="ctr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F7AC2E15-C1F4-4005-BE2B-EEE437719B68}"/>
              </a:ext>
            </a:extLst>
          </p:cNvPr>
          <p:cNvSpPr>
            <a:spLocks noGrp="1"/>
          </p:cNvSpPr>
          <p:nvPr>
            <p:ph type="dt" sz="half" idx="19"/>
          </p:nvPr>
        </p:nvSpPr>
        <p:spPr bwMode="gray"/>
        <p:txBody>
          <a:bodyPr/>
          <a:lstStyle/>
          <a:p>
            <a:fld id="{4C0A0D09-04DB-44A3-9C81-D4B021CBA7FA}" type="datetime1">
              <a:rPr lang="de-DE" noProof="0" smtClean="0"/>
              <a:t>22.10.2023</a:t>
            </a:fld>
            <a:endParaRPr lang="de-DE" sz="800" noProof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7F9BD44-96D2-4326-8E57-5D0B294639BA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 bwMode="gray"/>
        <p:txBody>
          <a:bodyPr/>
          <a:lstStyle/>
          <a:p>
            <a:pPr algn="ctr"/>
            <a:r>
              <a:rPr lang="de-DE" noProof="0"/>
              <a:t>Commerzbank AG, Max Mustermann, GM-C Brand Management 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945491B-74AB-4CF6-9AC6-E80178BCE87D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 bwMode="gray"/>
        <p:txBody>
          <a:bodyPr/>
          <a:lstStyle/>
          <a:p>
            <a:fld id="{CAEFDB47-5D1C-45E7-8BD0-EF74349B00F7}" type="slidenum">
              <a:rPr lang="de-DE" noProof="0" smtClean="0"/>
              <a:pPr/>
              <a:t>‹#›</a:t>
            </a:fld>
            <a:endParaRPr lang="de-DE" b="1" noProof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BB9208B-8121-464A-8899-BDC6155930B8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3251200" y="4004667"/>
            <a:ext cx="5689600" cy="1150939"/>
          </a:xfrm>
        </p:spPr>
        <p:txBody>
          <a:bodyPr tIns="0" rIns="0"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9645157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x Big 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A3E44ED3-CF40-4D39-A592-54FB189FA1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621453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A3E44ED3-CF40-4D39-A592-54FB189FA1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platzhalter 6">
            <a:extLst>
              <a:ext uri="{FF2B5EF4-FFF2-40B4-BE49-F238E27FC236}">
                <a16:creationId xmlns:a16="http://schemas.microsoft.com/office/drawing/2014/main" id="{0816DA9D-D2BE-4E0E-A5A8-8715DF27BEE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336550" y="1125538"/>
            <a:ext cx="5688013" cy="2303462"/>
          </a:xfrm>
        </p:spPr>
        <p:txBody>
          <a:bodyPr wrap="square" anchor="b">
            <a:normAutofit/>
          </a:bodyPr>
          <a:lstStyle>
            <a:lvl1pPr marL="0" indent="0" algn="ctr">
              <a:spcBef>
                <a:spcPts val="0"/>
              </a:spcBef>
              <a:buFont typeface="Arial" panose="020B0604020202020204" pitchFamily="34" charset="0"/>
              <a:buNone/>
              <a:defRPr sz="11500" b="1">
                <a:solidFill>
                  <a:schemeClr val="accent2"/>
                </a:solidFill>
              </a:defRPr>
            </a:lvl1pPr>
            <a:lvl2pPr marL="0" indent="0" algn="ctr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None/>
              <a:defRPr sz="11500" b="1">
                <a:solidFill>
                  <a:schemeClr val="accent2"/>
                </a:solidFill>
              </a:defRPr>
            </a:lvl2pPr>
            <a:lvl3pPr marL="0" indent="0" algn="ctr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None/>
              <a:defRPr sz="11500" b="1">
                <a:solidFill>
                  <a:schemeClr val="accent2"/>
                </a:solidFill>
              </a:defRPr>
            </a:lvl3pPr>
            <a:lvl4pPr marL="0" indent="0" algn="ctr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1500" b="1">
                <a:solidFill>
                  <a:schemeClr val="accent2"/>
                </a:solidFill>
              </a:defRPr>
            </a:lvl4pPr>
            <a:lvl5pPr marL="0" indent="0" algn="ctr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1500" b="1">
                <a:solidFill>
                  <a:schemeClr val="accent2"/>
                </a:solidFill>
              </a:defRPr>
            </a:lvl5pPr>
            <a:lvl6pPr marL="0" indent="0" algn="ctr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1500" b="1">
                <a:solidFill>
                  <a:schemeClr val="accent2"/>
                </a:solidFill>
              </a:defRPr>
            </a:lvl6pPr>
            <a:lvl7pPr marL="0" indent="0" algn="ctr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1500" b="1">
                <a:solidFill>
                  <a:schemeClr val="accent2"/>
                </a:solidFill>
              </a:defRPr>
            </a:lvl7pPr>
            <a:lvl8pPr marL="0" indent="0" algn="ctr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1500" b="1">
                <a:solidFill>
                  <a:schemeClr val="accent2"/>
                </a:solidFill>
              </a:defRPr>
            </a:lvl8pPr>
            <a:lvl9pPr marL="0" indent="0" algn="ctr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1500" b="1">
                <a:solidFill>
                  <a:schemeClr val="accent2"/>
                </a:solidFill>
              </a:defRPr>
            </a:lvl9pPr>
          </a:lstStyle>
          <a:p>
            <a:pPr lvl="0"/>
            <a:r>
              <a:rPr lang="de-DE" noProof="0" dirty="0"/>
              <a:t>100%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1F30E42B-4757-47CD-8114-9C88FB35A22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336550" y="4724400"/>
            <a:ext cx="5688013" cy="1728788"/>
          </a:xfrm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 b="0"/>
            </a:lvl1pPr>
            <a:lvl2pPr marL="0" indent="0" algn="ctr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200" b="0">
                <a:solidFill>
                  <a:schemeClr val="accent1"/>
                </a:solidFill>
              </a:defRPr>
            </a:lvl2pPr>
            <a:lvl3pPr marL="0" indent="0" algn="ctr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200" b="0">
                <a:solidFill>
                  <a:schemeClr val="accent1"/>
                </a:solidFill>
              </a:defRPr>
            </a:lvl3pPr>
            <a:lvl4pPr marL="0" indent="0" algn="ctr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accent1"/>
                </a:solidFill>
              </a:defRPr>
            </a:lvl4pPr>
            <a:lvl5pPr marL="0" indent="0" algn="ctr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accent1"/>
                </a:solidFill>
              </a:defRPr>
            </a:lvl5pPr>
            <a:lvl6pPr marL="0" indent="0" algn="ctr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accent1"/>
                </a:solidFill>
              </a:defRPr>
            </a:lvl6pPr>
            <a:lvl7pPr marL="0" indent="0" algn="ctr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accent1"/>
                </a:solidFill>
              </a:defRPr>
            </a:lvl7pPr>
            <a:lvl8pPr marL="0" indent="0" algn="ctr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accent1"/>
                </a:solidFill>
              </a:defRPr>
            </a:lvl8pPr>
            <a:lvl9pPr marL="0" indent="0" algn="ctr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F7AC2E15-C1F4-4005-BE2B-EEE437719B68}"/>
              </a:ext>
            </a:extLst>
          </p:cNvPr>
          <p:cNvSpPr>
            <a:spLocks noGrp="1"/>
          </p:cNvSpPr>
          <p:nvPr>
            <p:ph type="dt" sz="half" idx="19"/>
          </p:nvPr>
        </p:nvSpPr>
        <p:spPr bwMode="gray"/>
        <p:txBody>
          <a:bodyPr/>
          <a:lstStyle/>
          <a:p>
            <a:fld id="{14551B14-2AF9-41FD-884E-8E58EA2B8DB4}" type="datetime1">
              <a:rPr lang="de-DE" noProof="0" smtClean="0"/>
              <a:t>22.10.2023</a:t>
            </a:fld>
            <a:endParaRPr lang="de-DE" sz="800" noProof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7F9BD44-96D2-4326-8E57-5D0B294639BA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 bwMode="gray"/>
        <p:txBody>
          <a:bodyPr/>
          <a:lstStyle/>
          <a:p>
            <a:pPr algn="ctr"/>
            <a:r>
              <a:rPr lang="de-DE" noProof="0"/>
              <a:t>Commerzbank AG, Max Mustermann, GM-C Brand Management 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945491B-74AB-4CF6-9AC6-E80178BCE87D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 bwMode="gray"/>
        <p:txBody>
          <a:bodyPr/>
          <a:lstStyle/>
          <a:p>
            <a:fld id="{CAEFDB47-5D1C-45E7-8BD0-EF74349B00F7}" type="slidenum">
              <a:rPr lang="de-DE" noProof="0" smtClean="0"/>
              <a:pPr/>
              <a:t>‹#›</a:t>
            </a:fld>
            <a:endParaRPr lang="de-DE" b="1" noProof="0"/>
          </a:p>
        </p:txBody>
      </p:sp>
      <p:sp>
        <p:nvSpPr>
          <p:cNvPr id="23" name="Textplatzhalter 6">
            <a:extLst>
              <a:ext uri="{FF2B5EF4-FFF2-40B4-BE49-F238E27FC236}">
                <a16:creationId xmlns:a16="http://schemas.microsoft.com/office/drawing/2014/main" id="{35BE10ED-69AC-4620-BD68-23B7AF9C487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 bwMode="gray">
          <a:xfrm>
            <a:off x="336551" y="3429000"/>
            <a:ext cx="5688012" cy="1295400"/>
          </a:xfrm>
        </p:spPr>
        <p:txBody>
          <a:bodyPr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1"/>
            </a:lvl1pPr>
            <a:lvl2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3200" b="1">
                <a:solidFill>
                  <a:schemeClr val="accent1"/>
                </a:solidFill>
              </a:defRPr>
            </a:lvl2pPr>
            <a:lvl3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3200" b="1">
                <a:solidFill>
                  <a:schemeClr val="accent1"/>
                </a:solidFill>
              </a:defRPr>
            </a:lvl3pPr>
            <a:lvl4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1">
                <a:solidFill>
                  <a:schemeClr val="accent1"/>
                </a:solidFill>
              </a:defRPr>
            </a:lvl4pPr>
            <a:lvl5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1">
                <a:solidFill>
                  <a:schemeClr val="accent1"/>
                </a:solidFill>
              </a:defRPr>
            </a:lvl5pPr>
            <a:lvl6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1">
                <a:solidFill>
                  <a:schemeClr val="accent1"/>
                </a:solidFill>
              </a:defRPr>
            </a:lvl6pPr>
            <a:lvl7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1">
                <a:solidFill>
                  <a:schemeClr val="accent1"/>
                </a:solidFill>
              </a:defRPr>
            </a:lvl7pPr>
            <a:lvl8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1">
                <a:solidFill>
                  <a:schemeClr val="accent1"/>
                </a:solidFill>
              </a:defRPr>
            </a:lvl8pPr>
            <a:lvl9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1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4" name="Textplatzhalter 6">
            <a:extLst>
              <a:ext uri="{FF2B5EF4-FFF2-40B4-BE49-F238E27FC236}">
                <a16:creationId xmlns:a16="http://schemas.microsoft.com/office/drawing/2014/main" id="{E1303003-72BC-4F2D-AABF-B4153A9F510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6167439" y="1125538"/>
            <a:ext cx="5689600" cy="2303462"/>
          </a:xfrm>
        </p:spPr>
        <p:txBody>
          <a:bodyPr wrap="square" anchor="b">
            <a:normAutofit/>
          </a:bodyPr>
          <a:lstStyle>
            <a:lvl1pPr marL="0" indent="0" algn="ctr">
              <a:spcBef>
                <a:spcPts val="0"/>
              </a:spcBef>
              <a:buFont typeface="Arial" panose="020B0604020202020204" pitchFamily="34" charset="0"/>
              <a:buNone/>
              <a:defRPr sz="11500" b="1">
                <a:solidFill>
                  <a:schemeClr val="accent2"/>
                </a:solidFill>
              </a:defRPr>
            </a:lvl1pPr>
            <a:lvl2pPr marL="0" indent="0" algn="ctr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None/>
              <a:defRPr sz="11500" b="1">
                <a:solidFill>
                  <a:schemeClr val="accent2"/>
                </a:solidFill>
              </a:defRPr>
            </a:lvl2pPr>
            <a:lvl3pPr marL="0" indent="0" algn="ctr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None/>
              <a:defRPr sz="11500" b="1">
                <a:solidFill>
                  <a:schemeClr val="accent2"/>
                </a:solidFill>
              </a:defRPr>
            </a:lvl3pPr>
            <a:lvl4pPr marL="0" indent="0" algn="ctr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1500" b="1">
                <a:solidFill>
                  <a:schemeClr val="accent2"/>
                </a:solidFill>
              </a:defRPr>
            </a:lvl4pPr>
            <a:lvl5pPr marL="0" indent="0" algn="ctr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1500" b="1">
                <a:solidFill>
                  <a:schemeClr val="accent2"/>
                </a:solidFill>
              </a:defRPr>
            </a:lvl5pPr>
            <a:lvl6pPr marL="0" indent="0" algn="ctr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1500" b="1">
                <a:solidFill>
                  <a:schemeClr val="accent2"/>
                </a:solidFill>
              </a:defRPr>
            </a:lvl6pPr>
            <a:lvl7pPr marL="0" indent="0" algn="ctr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1500" b="1">
                <a:solidFill>
                  <a:schemeClr val="accent2"/>
                </a:solidFill>
              </a:defRPr>
            </a:lvl7pPr>
            <a:lvl8pPr marL="0" indent="0" algn="ctr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1500" b="1">
                <a:solidFill>
                  <a:schemeClr val="accent2"/>
                </a:solidFill>
              </a:defRPr>
            </a:lvl8pPr>
            <a:lvl9pPr marL="0" indent="0" algn="ctr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1500" b="1">
                <a:solidFill>
                  <a:schemeClr val="accent2"/>
                </a:solidFill>
              </a:defRPr>
            </a:lvl9pPr>
          </a:lstStyle>
          <a:p>
            <a:pPr lvl="0"/>
            <a:r>
              <a:rPr lang="de-DE" noProof="0" dirty="0"/>
              <a:t>100%</a:t>
            </a:r>
          </a:p>
        </p:txBody>
      </p:sp>
      <p:sp>
        <p:nvSpPr>
          <p:cNvPr id="15" name="Textplatzhalter 6">
            <a:extLst>
              <a:ext uri="{FF2B5EF4-FFF2-40B4-BE49-F238E27FC236}">
                <a16:creationId xmlns:a16="http://schemas.microsoft.com/office/drawing/2014/main" id="{2B6D0FF4-26E7-47A8-91E4-49520D17962E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 bwMode="gray">
          <a:xfrm>
            <a:off x="6167438" y="4724400"/>
            <a:ext cx="5689600" cy="1728788"/>
          </a:xfrm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 b="0"/>
            </a:lvl1pPr>
            <a:lvl2pPr marL="0" indent="0" algn="ctr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None/>
              <a:defRPr sz="1200" b="0">
                <a:solidFill>
                  <a:schemeClr val="accent1"/>
                </a:solidFill>
              </a:defRPr>
            </a:lvl2pPr>
            <a:lvl3pPr marL="0" indent="0" algn="ctr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None/>
              <a:defRPr sz="1200" b="0">
                <a:solidFill>
                  <a:schemeClr val="accent1"/>
                </a:solidFill>
              </a:defRPr>
            </a:lvl3pPr>
            <a:lvl4pPr marL="0" indent="0" algn="ctr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>
                <a:solidFill>
                  <a:schemeClr val="accent1"/>
                </a:solidFill>
              </a:defRPr>
            </a:lvl4pPr>
            <a:lvl5pPr marL="0" indent="0" algn="ctr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>
                <a:solidFill>
                  <a:schemeClr val="accent1"/>
                </a:solidFill>
              </a:defRPr>
            </a:lvl5pPr>
            <a:lvl6pPr marL="0" indent="0" algn="ctr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>
                <a:solidFill>
                  <a:schemeClr val="accent1"/>
                </a:solidFill>
              </a:defRPr>
            </a:lvl6pPr>
            <a:lvl7pPr marL="0" indent="0" algn="ctr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>
                <a:solidFill>
                  <a:schemeClr val="accent1"/>
                </a:solidFill>
              </a:defRPr>
            </a:lvl7pPr>
            <a:lvl8pPr marL="0" indent="0" algn="ctr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>
                <a:solidFill>
                  <a:schemeClr val="accent1"/>
                </a:solidFill>
              </a:defRPr>
            </a:lvl8pPr>
            <a:lvl9pPr marL="0" indent="0" algn="ctr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6" name="Textplatzhalter 6">
            <a:extLst>
              <a:ext uri="{FF2B5EF4-FFF2-40B4-BE49-F238E27FC236}">
                <a16:creationId xmlns:a16="http://schemas.microsoft.com/office/drawing/2014/main" id="{C961F0CB-55DD-4B93-BAC0-8CEB8FC904AE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 bwMode="gray">
          <a:xfrm>
            <a:off x="6167438" y="3429000"/>
            <a:ext cx="5689600" cy="1295400"/>
          </a:xfrm>
        </p:spPr>
        <p:txBody>
          <a:bodyPr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1"/>
            </a:lvl1pPr>
            <a:lvl2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3200" b="1">
                <a:solidFill>
                  <a:schemeClr val="accent1"/>
                </a:solidFill>
              </a:defRPr>
            </a:lvl2pPr>
            <a:lvl3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3200" b="1">
                <a:solidFill>
                  <a:schemeClr val="accent1"/>
                </a:solidFill>
              </a:defRPr>
            </a:lvl3pPr>
            <a:lvl4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1">
                <a:solidFill>
                  <a:schemeClr val="accent1"/>
                </a:solidFill>
              </a:defRPr>
            </a:lvl4pPr>
            <a:lvl5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1">
                <a:solidFill>
                  <a:schemeClr val="accent1"/>
                </a:solidFill>
              </a:defRPr>
            </a:lvl5pPr>
            <a:lvl6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1">
                <a:solidFill>
                  <a:schemeClr val="accent1"/>
                </a:solidFill>
              </a:defRPr>
            </a:lvl6pPr>
            <a:lvl7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1">
                <a:solidFill>
                  <a:schemeClr val="accent1"/>
                </a:solidFill>
              </a:defRPr>
            </a:lvl7pPr>
            <a:lvl8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1">
                <a:solidFill>
                  <a:schemeClr val="accent1"/>
                </a:solidFill>
              </a:defRPr>
            </a:lvl8pPr>
            <a:lvl9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1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99FEA71-D758-4C45-A4B8-27C089EE82FD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7870122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35C1FFB7-E45A-487F-9DA5-4D1DFF6841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6551" y="-1"/>
            <a:ext cx="11518898" cy="3428999"/>
          </a:xfrm>
        </p:spPr>
        <p:txBody>
          <a:bodyPr tIns="360000" rIns="0" anchor="b"/>
          <a:lstStyle>
            <a:lvl1pPr algn="ctr">
              <a:defRPr sz="4800"/>
            </a:lvl1pPr>
          </a:lstStyle>
          <a:p>
            <a:r>
              <a:rPr lang="de-DE"/>
              <a:t>„Zitat“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1F30E42B-4757-47CD-8114-9C88FB35A22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224337" y="4293096"/>
            <a:ext cx="3743325" cy="575767"/>
          </a:xfrm>
        </p:spPr>
        <p:txBody>
          <a:bodyPr/>
          <a:lstStyle>
            <a:lvl1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0"/>
            </a:lvl1pPr>
            <a:lvl2pPr marL="0" indent="0" algn="ctr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chemeClr val="accent1"/>
                </a:solidFill>
              </a:defRPr>
            </a:lvl2pPr>
            <a:lvl3pPr marL="0" indent="0" algn="ctr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chemeClr val="accent1"/>
                </a:solidFill>
              </a:defRPr>
            </a:lvl3pPr>
            <a:lvl4pPr marL="0" indent="0" algn="ctr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accent1"/>
                </a:solidFill>
              </a:defRPr>
            </a:lvl4pPr>
            <a:lvl5pPr marL="0" indent="0" algn="ctr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accent1"/>
                </a:solidFill>
              </a:defRPr>
            </a:lvl5pPr>
            <a:lvl6pPr marL="0" indent="0" algn="ctr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accent1"/>
                </a:solidFill>
              </a:defRPr>
            </a:lvl6pPr>
            <a:lvl7pPr marL="0" indent="0" algn="ctr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accent1"/>
                </a:solidFill>
              </a:defRPr>
            </a:lvl7pPr>
            <a:lvl8pPr marL="0" indent="0" algn="ctr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accent1"/>
                </a:solidFill>
              </a:defRPr>
            </a:lvl8pPr>
            <a:lvl9pPr marL="0" indent="0" algn="ctr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de-DE" noProof="0" dirty="0"/>
              <a:t>Vorname Nachname</a:t>
            </a:r>
          </a:p>
          <a:p>
            <a:pPr lvl="0"/>
            <a:r>
              <a:rPr lang="de-DE" noProof="0" dirty="0"/>
              <a:t>Position, Beschreibung, …</a:t>
            </a:r>
          </a:p>
        </p:txBody>
      </p:sp>
      <p:sp>
        <p:nvSpPr>
          <p:cNvPr id="11" name="Google Shape;192;p37">
            <a:extLst>
              <a:ext uri="{FF2B5EF4-FFF2-40B4-BE49-F238E27FC236}">
                <a16:creationId xmlns:a16="http://schemas.microsoft.com/office/drawing/2014/main" id="{52B73378-B483-470B-86EB-BAFC200D6F4B}"/>
              </a:ext>
            </a:extLst>
          </p:cNvPr>
          <p:cNvSpPr/>
          <p:nvPr userDrawn="1"/>
        </p:nvSpPr>
        <p:spPr bwMode="black">
          <a:xfrm>
            <a:off x="5232000" y="3717032"/>
            <a:ext cx="1731102" cy="142423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>
            <a:noFill/>
          </a:ln>
        </p:spPr>
        <p:txBody>
          <a:bodyPr spcFirstLastPara="1" wrap="square" lIns="91450" tIns="45700" rIns="91450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de-DE" sz="1800" noProof="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" name="Bildplatzhalter 8">
            <a:extLst>
              <a:ext uri="{FF2B5EF4-FFF2-40B4-BE49-F238E27FC236}">
                <a16:creationId xmlns:a16="http://schemas.microsoft.com/office/drawing/2014/main" id="{919CABA2-15F9-4631-B1E7-4880409683BF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 bwMode="gray">
          <a:xfrm>
            <a:off x="5521289" y="4869160"/>
            <a:ext cx="1152525" cy="1150937"/>
          </a:xfrm>
          <a:prstGeom prst="ellipse">
            <a:avLst/>
          </a:prstGeom>
          <a:noFill/>
        </p:spPr>
        <p:txBody>
          <a:bodyPr lIns="0" tIns="0" rIns="324000" bIns="576000" anchor="b"/>
          <a:lstStyle>
            <a:lvl1pPr marL="0" indent="0" algn="r">
              <a:buNone/>
              <a:defRPr sz="800">
                <a:solidFill>
                  <a:schemeClr val="bg1"/>
                </a:solidFill>
              </a:defRPr>
            </a:lvl1pPr>
          </a:lstStyle>
          <a:p>
            <a:r>
              <a:rPr lang="de-DE" noProof="0"/>
              <a:t> 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0776E2B5-E827-4327-8AF9-3BD1D72F0E92}"/>
              </a:ext>
            </a:extLst>
          </p:cNvPr>
          <p:cNvSpPr>
            <a:spLocks noGrp="1"/>
          </p:cNvSpPr>
          <p:nvPr>
            <p:ph type="dt" sz="half" idx="20"/>
          </p:nvPr>
        </p:nvSpPr>
        <p:spPr bwMode="gray"/>
        <p:txBody>
          <a:bodyPr/>
          <a:lstStyle/>
          <a:p>
            <a:fld id="{EC3E3980-DD0C-426F-ABE6-CD2588A571F5}" type="datetime1">
              <a:rPr lang="de-DE" noProof="0" smtClean="0"/>
              <a:t>22.10.2023</a:t>
            </a:fld>
            <a:endParaRPr lang="de-DE" sz="800" noProof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7D1343C8-5C6F-4A2A-91D5-C3CA7B257661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 bwMode="gray"/>
        <p:txBody>
          <a:bodyPr/>
          <a:lstStyle/>
          <a:p>
            <a:pPr algn="ctr"/>
            <a:r>
              <a:rPr lang="de-DE" noProof="0"/>
              <a:t>Commerzbank AG, Max Mustermann, GM-C Brand Management 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C606464E-8FE7-4C45-8743-A0134C1832EE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 bwMode="gray"/>
        <p:txBody>
          <a:bodyPr/>
          <a:lstStyle/>
          <a:p>
            <a:fld id="{CAEFDB47-5D1C-45E7-8BD0-EF74349B00F7}" type="slidenum">
              <a:rPr lang="de-DE" noProof="0" smtClean="0"/>
              <a:pPr/>
              <a:t>‹#›</a:t>
            </a:fld>
            <a:endParaRPr lang="de-DE" b="1" noProof="0"/>
          </a:p>
        </p:txBody>
      </p:sp>
    </p:spTree>
    <p:extLst>
      <p:ext uri="{BB962C8B-B14F-4D97-AF65-F5344CB8AC3E}">
        <p14:creationId xmlns:p14="http://schemas.microsoft.com/office/powerpoint/2010/main" val="265475683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with pictur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8">
            <a:extLst>
              <a:ext uri="{FF2B5EF4-FFF2-40B4-BE49-F238E27FC236}">
                <a16:creationId xmlns:a16="http://schemas.microsoft.com/office/drawing/2014/main" id="{6493CB55-B2EA-48C1-B7E1-DDEC6D84F98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0" y="0"/>
            <a:ext cx="12192000" cy="6858000"/>
          </a:xfrm>
          <a:solidFill>
            <a:schemeClr val="accent1"/>
          </a:solidFill>
        </p:spPr>
        <p:txBody>
          <a:bodyPr lIns="0" tIns="0" rIns="0" bIns="576000" anchor="b"/>
          <a:lstStyle>
            <a:lvl1pPr marL="0" indent="0" algn="ctr">
              <a:buNone/>
              <a:defRPr sz="800">
                <a:solidFill>
                  <a:schemeClr val="accent6"/>
                </a:solidFill>
              </a:defRPr>
            </a:lvl1pPr>
          </a:lstStyle>
          <a:p>
            <a:r>
              <a:rPr lang="de-DE" noProof="0" dirty="0"/>
              <a:t>Fügen Sie ein Bild über Klicken auf das Symbol ein. </a:t>
            </a: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Alternativ kopieren Sie ein Bild in die Zwischenablage, </a:t>
            </a:r>
            <a:br>
              <a:rPr lang="de-DE" noProof="0" dirty="0"/>
            </a:br>
            <a:r>
              <a:rPr lang="de-DE" noProof="0" dirty="0"/>
              <a:t>wählen Sie den Platzhalter an und klicken Sie einfügen. </a:t>
            </a: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Achten Sie darauf, dass das Logo im Vordergrund ist und </a:t>
            </a:r>
            <a:br>
              <a:rPr lang="de-DE" noProof="0" dirty="0"/>
            </a:br>
            <a:r>
              <a:rPr lang="de-DE" noProof="0" dirty="0"/>
              <a:t>wählen Sie bei hellen Bildern Petrol als Logofarbe.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1F30E42B-4757-47CD-8114-9C88FB35A22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224339" y="4293096"/>
            <a:ext cx="3743324" cy="575767"/>
          </a:xfrm>
        </p:spPr>
        <p:txBody>
          <a:bodyPr/>
          <a:lstStyle>
            <a:lvl1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0">
                <a:solidFill>
                  <a:schemeClr val="bg1"/>
                </a:solidFill>
              </a:defRPr>
            </a:lvl1pPr>
            <a:lvl2pPr marL="0" indent="0" algn="ctr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chemeClr val="bg1"/>
                </a:solidFill>
              </a:defRPr>
            </a:lvl2pPr>
            <a:lvl3pPr marL="0" indent="0" algn="ctr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chemeClr val="bg1"/>
                </a:solidFill>
              </a:defRPr>
            </a:lvl3pPr>
            <a:lvl4pPr marL="0" indent="0" algn="ctr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</a:defRPr>
            </a:lvl4pPr>
            <a:lvl5pPr marL="0" indent="0" algn="ctr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</a:defRPr>
            </a:lvl5pPr>
            <a:lvl6pPr marL="0" indent="0" algn="ctr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</a:defRPr>
            </a:lvl6pPr>
            <a:lvl7pPr marL="0" indent="0" algn="ctr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</a:defRPr>
            </a:lvl7pPr>
            <a:lvl8pPr marL="0" indent="0" algn="ctr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</a:defRPr>
            </a:lvl8pPr>
            <a:lvl9pPr marL="0" indent="0" algn="ctr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/>
              <a:t>Vorname Nachname</a:t>
            </a:r>
          </a:p>
          <a:p>
            <a:pPr lvl="0"/>
            <a:r>
              <a:rPr lang="de-DE" noProof="0"/>
              <a:t>Position, Beschreibung, …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0776E2B5-E827-4327-8AF9-3BD1D72F0E92}"/>
              </a:ext>
            </a:extLst>
          </p:cNvPr>
          <p:cNvSpPr>
            <a:spLocks noGrp="1"/>
          </p:cNvSpPr>
          <p:nvPr>
            <p:ph type="dt" sz="half" idx="20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C3E3980-DD0C-426F-ABE6-CD2588A571F5}" type="datetime1">
              <a:rPr lang="de-DE" noProof="0" smtClean="0"/>
              <a:pPr/>
              <a:t>22.10.2023</a:t>
            </a:fld>
            <a:endParaRPr lang="de-DE" noProof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7D1343C8-5C6F-4A2A-91D5-C3CA7B257661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/>
              <a:t>Commerzbank AG, Max Mustermann, GM-C Brand Management 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C606464E-8FE7-4C45-8743-A0134C1832EE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AEFDB47-5D1C-45E7-8BD0-EF74349B00F7}" type="slidenum">
              <a:rPr lang="de-DE" noProof="0" smtClean="0"/>
              <a:pPr/>
              <a:t>‹#›</a:t>
            </a:fld>
            <a:endParaRPr lang="de-DE" b="1" noProof="0"/>
          </a:p>
        </p:txBody>
      </p:sp>
      <p:sp>
        <p:nvSpPr>
          <p:cNvPr id="10" name="SmartArt-Platzhalter 11">
            <a:extLst>
              <a:ext uri="{FF2B5EF4-FFF2-40B4-BE49-F238E27FC236}">
                <a16:creationId xmlns:a16="http://schemas.microsoft.com/office/drawing/2014/main" id="{10D8EF99-7F22-4D85-997D-CBFB7B4C7E48}"/>
              </a:ext>
            </a:extLst>
          </p:cNvPr>
          <p:cNvSpPr>
            <a:spLocks noGrp="1"/>
          </p:cNvSpPr>
          <p:nvPr>
            <p:ph type="dgm" sz="quarter" idx="15"/>
          </p:nvPr>
        </p:nvSpPr>
        <p:spPr bwMode="gray">
          <a:xfrm>
            <a:off x="11522271" y="260351"/>
            <a:ext cx="332854" cy="288924"/>
          </a:xfrm>
          <a:custGeom>
            <a:avLst/>
            <a:gdLst>
              <a:gd name="connsiteX0" fmla="*/ 26189 w 332854"/>
              <a:gd name="connsiteY0" fmla="*/ 199375 h 288924"/>
              <a:gd name="connsiteX1" fmla="*/ 38755 w 332854"/>
              <a:gd name="connsiteY1" fmla="*/ 203399 h 288924"/>
              <a:gd name="connsiteX2" fmla="*/ 60872 w 332854"/>
              <a:gd name="connsiteY2" fmla="*/ 208430 h 288924"/>
              <a:gd name="connsiteX3" fmla="*/ 89523 w 332854"/>
              <a:gd name="connsiteY3" fmla="*/ 210442 h 288924"/>
              <a:gd name="connsiteX4" fmla="*/ 166428 w 332854"/>
              <a:gd name="connsiteY4" fmla="*/ 210442 h 288924"/>
              <a:gd name="connsiteX5" fmla="*/ 243335 w 332854"/>
              <a:gd name="connsiteY5" fmla="*/ 210442 h 288924"/>
              <a:gd name="connsiteX6" fmla="*/ 255398 w 332854"/>
              <a:gd name="connsiteY6" fmla="*/ 210442 h 288924"/>
              <a:gd name="connsiteX7" fmla="*/ 260927 w 332854"/>
              <a:gd name="connsiteY7" fmla="*/ 226542 h 288924"/>
              <a:gd name="connsiteX8" fmla="*/ 265953 w 332854"/>
              <a:gd name="connsiteY8" fmla="*/ 260752 h 288924"/>
              <a:gd name="connsiteX9" fmla="*/ 258916 w 332854"/>
              <a:gd name="connsiteY9" fmla="*/ 282384 h 288924"/>
              <a:gd name="connsiteX10" fmla="*/ 254895 w 332854"/>
              <a:gd name="connsiteY10" fmla="*/ 288924 h 288924"/>
              <a:gd name="connsiteX11" fmla="*/ 253513 w 332854"/>
              <a:gd name="connsiteY11" fmla="*/ 288924 h 288924"/>
              <a:gd name="connsiteX12" fmla="*/ 243837 w 332854"/>
              <a:gd name="connsiteY12" fmla="*/ 288924 h 288924"/>
              <a:gd name="connsiteX13" fmla="*/ 217573 w 332854"/>
              <a:gd name="connsiteY13" fmla="*/ 288924 h 288924"/>
              <a:gd name="connsiteX14" fmla="*/ 166428 w 332854"/>
              <a:gd name="connsiteY14" fmla="*/ 288924 h 288924"/>
              <a:gd name="connsiteX15" fmla="*/ 165046 w 332854"/>
              <a:gd name="connsiteY15" fmla="*/ 288924 h 288924"/>
              <a:gd name="connsiteX16" fmla="*/ 155370 w 332854"/>
              <a:gd name="connsiteY16" fmla="*/ 288924 h 288924"/>
              <a:gd name="connsiteX17" fmla="*/ 129106 w 332854"/>
              <a:gd name="connsiteY17" fmla="*/ 288924 h 288924"/>
              <a:gd name="connsiteX18" fmla="*/ 77962 w 332854"/>
              <a:gd name="connsiteY18" fmla="*/ 288924 h 288924"/>
              <a:gd name="connsiteX19" fmla="*/ 26189 w 332854"/>
              <a:gd name="connsiteY19" fmla="*/ 199375 h 288924"/>
              <a:gd name="connsiteX20" fmla="*/ 236869 w 332854"/>
              <a:gd name="connsiteY20" fmla="*/ 0 h 288924"/>
              <a:gd name="connsiteX21" fmla="*/ 237811 w 332854"/>
              <a:gd name="connsiteY21" fmla="*/ 0 h 288924"/>
              <a:gd name="connsiteX22" fmla="*/ 244408 w 332854"/>
              <a:gd name="connsiteY22" fmla="*/ 0 h 288924"/>
              <a:gd name="connsiteX23" fmla="*/ 332854 w 332854"/>
              <a:gd name="connsiteY23" fmla="*/ 153506 h 288924"/>
              <a:gd name="connsiteX24" fmla="*/ 281595 w 332854"/>
              <a:gd name="connsiteY24" fmla="*/ 243093 h 288924"/>
              <a:gd name="connsiteX25" fmla="*/ 279082 w 332854"/>
              <a:gd name="connsiteY25" fmla="*/ 230008 h 288924"/>
              <a:gd name="connsiteX26" fmla="*/ 272047 w 332854"/>
              <a:gd name="connsiteY26" fmla="*/ 208366 h 288924"/>
              <a:gd name="connsiteX27" fmla="*/ 259483 w 332854"/>
              <a:gd name="connsiteY27" fmla="*/ 182194 h 288924"/>
              <a:gd name="connsiteX28" fmla="*/ 221290 w 332854"/>
              <a:gd name="connsiteY28" fmla="*/ 115759 h 288924"/>
              <a:gd name="connsiteX29" fmla="*/ 182595 w 332854"/>
              <a:gd name="connsiteY29" fmla="*/ 49323 h 288924"/>
              <a:gd name="connsiteX30" fmla="*/ 176565 w 332854"/>
              <a:gd name="connsiteY30" fmla="*/ 38754 h 288924"/>
              <a:gd name="connsiteX31" fmla="*/ 187620 w 332854"/>
              <a:gd name="connsiteY31" fmla="*/ 25668 h 288924"/>
              <a:gd name="connsiteX32" fmla="*/ 214758 w 332854"/>
              <a:gd name="connsiteY32" fmla="*/ 4530 h 288924"/>
              <a:gd name="connsiteX33" fmla="*/ 236869 w 332854"/>
              <a:gd name="connsiteY33" fmla="*/ 0 h 288924"/>
              <a:gd name="connsiteX34" fmla="*/ 88490 w 332854"/>
              <a:gd name="connsiteY34" fmla="*/ 0 h 288924"/>
              <a:gd name="connsiteX35" fmla="*/ 90100 w 332854"/>
              <a:gd name="connsiteY35" fmla="*/ 0 h 288924"/>
              <a:gd name="connsiteX36" fmla="*/ 101374 w 332854"/>
              <a:gd name="connsiteY36" fmla="*/ 0 h 288924"/>
              <a:gd name="connsiteX37" fmla="*/ 131973 w 332854"/>
              <a:gd name="connsiteY37" fmla="*/ 0 h 288924"/>
              <a:gd name="connsiteX38" fmla="*/ 157539 w 332854"/>
              <a:gd name="connsiteY38" fmla="*/ 0 h 288924"/>
              <a:gd name="connsiteX39" fmla="*/ 191560 w 332854"/>
              <a:gd name="connsiteY39" fmla="*/ 0 h 288924"/>
              <a:gd name="connsiteX40" fmla="*/ 181504 w 332854"/>
              <a:gd name="connsiteY40" fmla="*/ 9059 h 288924"/>
              <a:gd name="connsiteX41" fmla="*/ 166421 w 332854"/>
              <a:gd name="connsiteY41" fmla="*/ 25666 h 288924"/>
              <a:gd name="connsiteX42" fmla="*/ 150332 w 332854"/>
              <a:gd name="connsiteY42" fmla="*/ 49319 h 288924"/>
              <a:gd name="connsiteX43" fmla="*/ 111617 w 332854"/>
              <a:gd name="connsiteY43" fmla="*/ 115748 h 288924"/>
              <a:gd name="connsiteX44" fmla="*/ 72903 w 332854"/>
              <a:gd name="connsiteY44" fmla="*/ 182178 h 288924"/>
              <a:gd name="connsiteX45" fmla="*/ 67373 w 332854"/>
              <a:gd name="connsiteY45" fmla="*/ 193250 h 288924"/>
              <a:gd name="connsiteX46" fmla="*/ 50278 w 332854"/>
              <a:gd name="connsiteY46" fmla="*/ 189727 h 288924"/>
              <a:gd name="connsiteX47" fmla="*/ 18603 w 332854"/>
              <a:gd name="connsiteY47" fmla="*/ 176643 h 288924"/>
              <a:gd name="connsiteX48" fmla="*/ 3520 w 332854"/>
              <a:gd name="connsiteY48" fmla="*/ 160035 h 288924"/>
              <a:gd name="connsiteX49" fmla="*/ 0 w 332854"/>
              <a:gd name="connsiteY49" fmla="*/ 153493 h 288924"/>
              <a:gd name="connsiteX50" fmla="*/ 2514 w 332854"/>
              <a:gd name="connsiteY50" fmla="*/ 148963 h 288924"/>
              <a:gd name="connsiteX51" fmla="*/ 88490 w 332854"/>
              <a:gd name="connsiteY51" fmla="*/ 0 h 2889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</a:cxnLst>
            <a:rect l="l" t="t" r="r" b="b"/>
            <a:pathLst>
              <a:path w="332854" h="288924">
                <a:moveTo>
                  <a:pt x="26189" y="199375"/>
                </a:moveTo>
                <a:cubicBezTo>
                  <a:pt x="29708" y="200884"/>
                  <a:pt x="34232" y="202394"/>
                  <a:pt x="38755" y="203399"/>
                </a:cubicBezTo>
                <a:cubicBezTo>
                  <a:pt x="44787" y="204909"/>
                  <a:pt x="57354" y="207927"/>
                  <a:pt x="60872" y="208430"/>
                </a:cubicBezTo>
                <a:cubicBezTo>
                  <a:pt x="72433" y="210442"/>
                  <a:pt x="82989" y="210442"/>
                  <a:pt x="89523" y="210442"/>
                </a:cubicBezTo>
                <a:cubicBezTo>
                  <a:pt x="89523" y="210442"/>
                  <a:pt x="89523" y="210442"/>
                  <a:pt x="166428" y="210442"/>
                </a:cubicBezTo>
                <a:cubicBezTo>
                  <a:pt x="166428" y="210442"/>
                  <a:pt x="166428" y="210442"/>
                  <a:pt x="243335" y="210442"/>
                </a:cubicBezTo>
                <a:cubicBezTo>
                  <a:pt x="246350" y="210442"/>
                  <a:pt x="250371" y="210442"/>
                  <a:pt x="255398" y="210442"/>
                </a:cubicBezTo>
                <a:cubicBezTo>
                  <a:pt x="257408" y="216480"/>
                  <a:pt x="260927" y="226038"/>
                  <a:pt x="260927" y="226542"/>
                </a:cubicBezTo>
                <a:cubicBezTo>
                  <a:pt x="265451" y="238616"/>
                  <a:pt x="266959" y="250186"/>
                  <a:pt x="265953" y="260752"/>
                </a:cubicBezTo>
                <a:cubicBezTo>
                  <a:pt x="264446" y="270814"/>
                  <a:pt x="260927" y="277857"/>
                  <a:pt x="258916" y="282384"/>
                </a:cubicBezTo>
                <a:lnTo>
                  <a:pt x="254895" y="288924"/>
                </a:lnTo>
                <a:lnTo>
                  <a:pt x="253513" y="288924"/>
                </a:lnTo>
                <a:lnTo>
                  <a:pt x="243837" y="288924"/>
                </a:lnTo>
                <a:lnTo>
                  <a:pt x="217573" y="288924"/>
                </a:lnTo>
                <a:lnTo>
                  <a:pt x="166428" y="288924"/>
                </a:lnTo>
                <a:lnTo>
                  <a:pt x="165046" y="288924"/>
                </a:lnTo>
                <a:lnTo>
                  <a:pt x="155370" y="288924"/>
                </a:lnTo>
                <a:lnTo>
                  <a:pt x="129106" y="288924"/>
                </a:lnTo>
                <a:lnTo>
                  <a:pt x="77962" y="288924"/>
                </a:lnTo>
                <a:cubicBezTo>
                  <a:pt x="77962" y="288924"/>
                  <a:pt x="77962" y="288924"/>
                  <a:pt x="26189" y="199375"/>
                </a:cubicBezTo>
                <a:close/>
                <a:moveTo>
                  <a:pt x="236869" y="0"/>
                </a:moveTo>
                <a:lnTo>
                  <a:pt x="237811" y="0"/>
                </a:lnTo>
                <a:lnTo>
                  <a:pt x="244408" y="0"/>
                </a:lnTo>
                <a:cubicBezTo>
                  <a:pt x="244408" y="0"/>
                  <a:pt x="244408" y="0"/>
                  <a:pt x="332854" y="153506"/>
                </a:cubicBezTo>
                <a:cubicBezTo>
                  <a:pt x="332854" y="153506"/>
                  <a:pt x="332854" y="153506"/>
                  <a:pt x="281595" y="243093"/>
                </a:cubicBezTo>
                <a:cubicBezTo>
                  <a:pt x="280590" y="239066"/>
                  <a:pt x="280088" y="234536"/>
                  <a:pt x="279082" y="230008"/>
                </a:cubicBezTo>
                <a:cubicBezTo>
                  <a:pt x="277072" y="223968"/>
                  <a:pt x="273053" y="211385"/>
                  <a:pt x="272047" y="208366"/>
                </a:cubicBezTo>
                <a:cubicBezTo>
                  <a:pt x="268026" y="197293"/>
                  <a:pt x="262499" y="188234"/>
                  <a:pt x="259483" y="182194"/>
                </a:cubicBezTo>
                <a:cubicBezTo>
                  <a:pt x="246418" y="159546"/>
                  <a:pt x="221290" y="115759"/>
                  <a:pt x="221290" y="115759"/>
                </a:cubicBezTo>
                <a:cubicBezTo>
                  <a:pt x="221290" y="115759"/>
                  <a:pt x="195661" y="71972"/>
                  <a:pt x="182595" y="49323"/>
                </a:cubicBezTo>
                <a:cubicBezTo>
                  <a:pt x="181088" y="46304"/>
                  <a:pt x="179078" y="42780"/>
                  <a:pt x="176565" y="38754"/>
                </a:cubicBezTo>
                <a:cubicBezTo>
                  <a:pt x="180585" y="33722"/>
                  <a:pt x="187118" y="26675"/>
                  <a:pt x="187620" y="25668"/>
                </a:cubicBezTo>
                <a:cubicBezTo>
                  <a:pt x="195661" y="16105"/>
                  <a:pt x="205209" y="9060"/>
                  <a:pt x="214758" y="4530"/>
                </a:cubicBezTo>
                <a:cubicBezTo>
                  <a:pt x="223804" y="1007"/>
                  <a:pt x="231844" y="0"/>
                  <a:pt x="236869" y="0"/>
                </a:cubicBezTo>
                <a:close/>
                <a:moveTo>
                  <a:pt x="88490" y="0"/>
                </a:moveTo>
                <a:lnTo>
                  <a:pt x="90100" y="0"/>
                </a:lnTo>
                <a:lnTo>
                  <a:pt x="101374" y="0"/>
                </a:lnTo>
                <a:lnTo>
                  <a:pt x="131973" y="0"/>
                </a:lnTo>
                <a:lnTo>
                  <a:pt x="157539" y="0"/>
                </a:lnTo>
                <a:lnTo>
                  <a:pt x="191560" y="0"/>
                </a:lnTo>
                <a:cubicBezTo>
                  <a:pt x="188040" y="2517"/>
                  <a:pt x="185024" y="5535"/>
                  <a:pt x="181504" y="9059"/>
                </a:cubicBezTo>
                <a:cubicBezTo>
                  <a:pt x="176980" y="13084"/>
                  <a:pt x="168934" y="22646"/>
                  <a:pt x="166421" y="25666"/>
                </a:cubicBezTo>
                <a:cubicBezTo>
                  <a:pt x="158879" y="34725"/>
                  <a:pt x="153349" y="43280"/>
                  <a:pt x="150332" y="49319"/>
                </a:cubicBezTo>
                <a:cubicBezTo>
                  <a:pt x="136756" y="71965"/>
                  <a:pt x="111617" y="115748"/>
                  <a:pt x="111617" y="115748"/>
                </a:cubicBezTo>
                <a:cubicBezTo>
                  <a:pt x="111617" y="115748"/>
                  <a:pt x="86479" y="159532"/>
                  <a:pt x="72903" y="182178"/>
                </a:cubicBezTo>
                <a:cubicBezTo>
                  <a:pt x="71395" y="185198"/>
                  <a:pt x="69886" y="188721"/>
                  <a:pt x="67373" y="193250"/>
                </a:cubicBezTo>
                <a:cubicBezTo>
                  <a:pt x="60837" y="191740"/>
                  <a:pt x="51284" y="190230"/>
                  <a:pt x="50278" y="189727"/>
                </a:cubicBezTo>
                <a:cubicBezTo>
                  <a:pt x="37709" y="187715"/>
                  <a:pt x="27150" y="183185"/>
                  <a:pt x="18603" y="176643"/>
                </a:cubicBezTo>
                <a:cubicBezTo>
                  <a:pt x="10558" y="170604"/>
                  <a:pt x="6033" y="164062"/>
                  <a:pt x="3520" y="160035"/>
                </a:cubicBezTo>
                <a:cubicBezTo>
                  <a:pt x="3520" y="160035"/>
                  <a:pt x="3520" y="160035"/>
                  <a:pt x="0" y="153493"/>
                </a:cubicBezTo>
                <a:cubicBezTo>
                  <a:pt x="0" y="153493"/>
                  <a:pt x="0" y="153493"/>
                  <a:pt x="2514" y="148963"/>
                </a:cubicBezTo>
                <a:cubicBezTo>
                  <a:pt x="2514" y="148963"/>
                  <a:pt x="2514" y="148963"/>
                  <a:pt x="88490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r>
              <a:rPr lang="en-US" noProof="0"/>
              <a:t>Click icon to add SmartArt graphic</a:t>
            </a:r>
            <a:endParaRPr lang="de-DE" noProof="0" dirty="0"/>
          </a:p>
        </p:txBody>
      </p:sp>
      <p:sp>
        <p:nvSpPr>
          <p:cNvPr id="11" name="Titel 3">
            <a:extLst>
              <a:ext uri="{FF2B5EF4-FFF2-40B4-BE49-F238E27FC236}">
                <a16:creationId xmlns:a16="http://schemas.microsoft.com/office/drawing/2014/main" id="{2DC04B09-674F-42AE-99EC-BAFCE0C9A5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36551" y="-1"/>
            <a:ext cx="11518898" cy="3428999"/>
          </a:xfrm>
        </p:spPr>
        <p:txBody>
          <a:bodyPr tIns="360000" rIns="0" anchor="b"/>
          <a:lstStyle>
            <a:lvl1pPr algn="ctr">
              <a:defRPr sz="4800">
                <a:solidFill>
                  <a:schemeClr val="bg1"/>
                </a:solidFill>
              </a:defRPr>
            </a:lvl1pPr>
          </a:lstStyle>
          <a:p>
            <a:r>
              <a:rPr lang="de-DE"/>
              <a:t>„Zitat“</a:t>
            </a:r>
          </a:p>
        </p:txBody>
      </p:sp>
      <p:sp>
        <p:nvSpPr>
          <p:cNvPr id="16" name="SmartArt-Platzhalter 4">
            <a:extLst>
              <a:ext uri="{FF2B5EF4-FFF2-40B4-BE49-F238E27FC236}">
                <a16:creationId xmlns:a16="http://schemas.microsoft.com/office/drawing/2014/main" id="{1B1F15C5-F637-A0C6-CF75-32733FFE911D}"/>
              </a:ext>
            </a:extLst>
          </p:cNvPr>
          <p:cNvSpPr>
            <a:spLocks noGrp="1"/>
          </p:cNvSpPr>
          <p:nvPr>
            <p:ph type="dgm" sz="quarter" idx="23" hasCustomPrompt="1"/>
          </p:nvPr>
        </p:nvSpPr>
        <p:spPr bwMode="gray">
          <a:xfrm>
            <a:off x="5232001" y="3717032"/>
            <a:ext cx="1731102" cy="142423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de-DE" noProof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66989541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oteboo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>
            <a:extLst>
              <a:ext uri="{FF2B5EF4-FFF2-40B4-BE49-F238E27FC236}">
                <a16:creationId xmlns:a16="http://schemas.microsoft.com/office/drawing/2014/main" id="{A1D18045-8E68-46CA-83F0-1F20C5F8A4B4}"/>
              </a:ext>
            </a:extLst>
          </p:cNvPr>
          <p:cNvSpPr/>
          <p:nvPr userDrawn="1"/>
        </p:nvSpPr>
        <p:spPr bwMode="white">
          <a:xfrm>
            <a:off x="8112125" y="0"/>
            <a:ext cx="4079874" cy="645318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sz="1200" b="1"/>
          </a:p>
        </p:txBody>
      </p:sp>
      <p:pic>
        <p:nvPicPr>
          <p:cNvPr id="16" name="Grafik 15" descr="Ein Bild, das Text, Anzeige, Nachthimmel enthält.&#10;&#10;Automatisch generierte Beschreibung">
            <a:extLst>
              <a:ext uri="{FF2B5EF4-FFF2-40B4-BE49-F238E27FC236}">
                <a16:creationId xmlns:a16="http://schemas.microsoft.com/office/drawing/2014/main" id="{50052273-6F2C-46C2-A927-8BBBEF5783A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66725" y="1410971"/>
            <a:ext cx="7686480" cy="4385024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9631D01A-40CA-4B56-9A6A-2CCA5614247A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336550" y="0"/>
            <a:ext cx="7631114" cy="1123950"/>
          </a:xfrm>
        </p:spPr>
        <p:txBody>
          <a:bodyPr rIns="0"/>
          <a:lstStyle/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EC3B4A5E-48C8-4076-ADCC-30B7DD183BB5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EBAA2246-6553-4284-BA43-14686F10B0C6}" type="datetime1">
              <a:rPr lang="de-DE" smtClean="0"/>
              <a:t>22.10.2023</a:t>
            </a:fld>
            <a:endParaRPr lang="de-DE" sz="80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53F68D4-336C-44F9-8F3C-3F833A3CB0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pPr algn="ctr"/>
            <a:r>
              <a:rPr lang="de-DE"/>
              <a:t>Commerzbank AG, Max Mustermann, GM-C Brand Management 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6B524BB-DBA7-4204-85C4-747F2C0EBB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CAEFDB47-5D1C-45E7-8BD0-EF74349B00F7}" type="slidenum">
              <a:rPr lang="de-DE" smtClean="0"/>
              <a:pPr/>
              <a:t>‹#›</a:t>
            </a:fld>
            <a:endParaRPr lang="de-DE" b="0"/>
          </a:p>
        </p:txBody>
      </p:sp>
      <p:sp>
        <p:nvSpPr>
          <p:cNvPr id="17" name="Bildplatzhalter 16">
            <a:extLst>
              <a:ext uri="{FF2B5EF4-FFF2-40B4-BE49-F238E27FC236}">
                <a16:creationId xmlns:a16="http://schemas.microsoft.com/office/drawing/2014/main" id="{83523130-AFA1-42E4-AC66-26873E9A9CFE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5004792" y="1644285"/>
            <a:ext cx="6010349" cy="3735436"/>
          </a:xfrm>
          <a:custGeom>
            <a:avLst/>
            <a:gdLst>
              <a:gd name="connsiteX0" fmla="*/ 0 w 6010349"/>
              <a:gd name="connsiteY0" fmla="*/ 0 h 3735436"/>
              <a:gd name="connsiteX1" fmla="*/ 6010349 w 6010349"/>
              <a:gd name="connsiteY1" fmla="*/ 0 h 3735436"/>
              <a:gd name="connsiteX2" fmla="*/ 6010349 w 6010349"/>
              <a:gd name="connsiteY2" fmla="*/ 3735436 h 3735436"/>
              <a:gd name="connsiteX3" fmla="*/ 0 w 6010349"/>
              <a:gd name="connsiteY3" fmla="*/ 3735436 h 37354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10349" h="3735436">
                <a:moveTo>
                  <a:pt x="0" y="0"/>
                </a:moveTo>
                <a:lnTo>
                  <a:pt x="6010349" y="0"/>
                </a:lnTo>
                <a:lnTo>
                  <a:pt x="6010349" y="3735436"/>
                </a:lnTo>
                <a:lnTo>
                  <a:pt x="0" y="3735436"/>
                </a:lnTo>
                <a:close/>
              </a:path>
            </a:pathLst>
          </a:custGeom>
          <a:noFill/>
        </p:spPr>
        <p:txBody>
          <a:bodyPr wrap="square" lIns="0" tIns="0" rIns="0" bIns="576000" anchor="b">
            <a:noAutofit/>
          </a:bodyPr>
          <a:lstStyle>
            <a:lvl1pPr marL="0" indent="0" algn="ctr">
              <a:buNone/>
              <a:defRPr sz="800">
                <a:solidFill>
                  <a:schemeClr val="accent6"/>
                </a:solidFill>
              </a:defRPr>
            </a:lvl1pPr>
          </a:lstStyle>
          <a:p>
            <a:r>
              <a:rPr lang="de-DE" noProof="0" dirty="0"/>
              <a:t>Fügen Sie ein Bild über Klicken auf das Symbol ein. </a:t>
            </a: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Alternativ kopieren Sie ein Bild in die Zwischenablage, </a:t>
            </a:r>
            <a:br>
              <a:rPr lang="de-DE" noProof="0" dirty="0"/>
            </a:br>
            <a:r>
              <a:rPr lang="de-DE" noProof="0" dirty="0"/>
              <a:t>wählen Sie den Platzhalter an und klicken Sie einfügen. </a:t>
            </a:r>
          </a:p>
        </p:txBody>
      </p:sp>
      <p:sp>
        <p:nvSpPr>
          <p:cNvPr id="13" name="Textplatzhalter 14">
            <a:extLst>
              <a:ext uri="{FF2B5EF4-FFF2-40B4-BE49-F238E27FC236}">
                <a16:creationId xmlns:a16="http://schemas.microsoft.com/office/drawing/2014/main" id="{095A8B34-4A01-456A-B199-E260D416446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>
          <a:xfrm>
            <a:off x="336550" y="1411288"/>
            <a:ext cx="3743326" cy="5041901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de-DE" noProof="0"/>
          </a:p>
        </p:txBody>
      </p:sp>
      <p:sp>
        <p:nvSpPr>
          <p:cNvPr id="11" name="Freihandform: Form 10">
            <a:extLst>
              <a:ext uri="{FF2B5EF4-FFF2-40B4-BE49-F238E27FC236}">
                <a16:creationId xmlns:a16="http://schemas.microsoft.com/office/drawing/2014/main" id="{0D4DC5FD-1DF7-4CE6-8A34-BD27A4D20635}"/>
              </a:ext>
            </a:extLst>
          </p:cNvPr>
          <p:cNvSpPr>
            <a:spLocks/>
          </p:cNvSpPr>
          <p:nvPr userDrawn="1"/>
        </p:nvSpPr>
        <p:spPr bwMode="invGray">
          <a:xfrm>
            <a:off x="11522271" y="260351"/>
            <a:ext cx="332854" cy="288924"/>
          </a:xfrm>
          <a:custGeom>
            <a:avLst/>
            <a:gdLst>
              <a:gd name="connsiteX0" fmla="*/ 22842 w 290316"/>
              <a:gd name="connsiteY0" fmla="*/ 173895 h 252000"/>
              <a:gd name="connsiteX1" fmla="*/ 33802 w 290316"/>
              <a:gd name="connsiteY1" fmla="*/ 177405 h 252000"/>
              <a:gd name="connsiteX2" fmla="*/ 53093 w 290316"/>
              <a:gd name="connsiteY2" fmla="*/ 181793 h 252000"/>
              <a:gd name="connsiteX3" fmla="*/ 78082 w 290316"/>
              <a:gd name="connsiteY3" fmla="*/ 183548 h 252000"/>
              <a:gd name="connsiteX4" fmla="*/ 145159 w 290316"/>
              <a:gd name="connsiteY4" fmla="*/ 183548 h 252000"/>
              <a:gd name="connsiteX5" fmla="*/ 212237 w 290316"/>
              <a:gd name="connsiteY5" fmla="*/ 183548 h 252000"/>
              <a:gd name="connsiteX6" fmla="*/ 222759 w 290316"/>
              <a:gd name="connsiteY6" fmla="*/ 183548 h 252000"/>
              <a:gd name="connsiteX7" fmla="*/ 227581 w 290316"/>
              <a:gd name="connsiteY7" fmla="*/ 197590 h 252000"/>
              <a:gd name="connsiteX8" fmla="*/ 231965 w 290316"/>
              <a:gd name="connsiteY8" fmla="*/ 227428 h 252000"/>
              <a:gd name="connsiteX9" fmla="*/ 225827 w 290316"/>
              <a:gd name="connsiteY9" fmla="*/ 246296 h 252000"/>
              <a:gd name="connsiteX10" fmla="*/ 222320 w 290316"/>
              <a:gd name="connsiteY10" fmla="*/ 252000 h 252000"/>
              <a:gd name="connsiteX11" fmla="*/ 145159 w 290316"/>
              <a:gd name="connsiteY11" fmla="*/ 252000 h 252000"/>
              <a:gd name="connsiteX12" fmla="*/ 67999 w 290316"/>
              <a:gd name="connsiteY12" fmla="*/ 252000 h 252000"/>
              <a:gd name="connsiteX13" fmla="*/ 22842 w 290316"/>
              <a:gd name="connsiteY13" fmla="*/ 173895 h 252000"/>
              <a:gd name="connsiteX14" fmla="*/ 206598 w 290316"/>
              <a:gd name="connsiteY14" fmla="*/ 0 h 252000"/>
              <a:gd name="connsiteX15" fmla="*/ 213173 w 290316"/>
              <a:gd name="connsiteY15" fmla="*/ 0 h 252000"/>
              <a:gd name="connsiteX16" fmla="*/ 290316 w 290316"/>
              <a:gd name="connsiteY16" fmla="*/ 133888 h 252000"/>
              <a:gd name="connsiteX17" fmla="*/ 245608 w 290316"/>
              <a:gd name="connsiteY17" fmla="*/ 212026 h 252000"/>
              <a:gd name="connsiteX18" fmla="*/ 243416 w 290316"/>
              <a:gd name="connsiteY18" fmla="*/ 200613 h 252000"/>
              <a:gd name="connsiteX19" fmla="*/ 237280 w 290316"/>
              <a:gd name="connsiteY19" fmla="*/ 181737 h 252000"/>
              <a:gd name="connsiteX20" fmla="*/ 226322 w 290316"/>
              <a:gd name="connsiteY20" fmla="*/ 158910 h 252000"/>
              <a:gd name="connsiteX21" fmla="*/ 193010 w 290316"/>
              <a:gd name="connsiteY21" fmla="*/ 100965 h 252000"/>
              <a:gd name="connsiteX22" fmla="*/ 159260 w 290316"/>
              <a:gd name="connsiteY22" fmla="*/ 43020 h 252000"/>
              <a:gd name="connsiteX23" fmla="*/ 154000 w 290316"/>
              <a:gd name="connsiteY23" fmla="*/ 33801 h 252000"/>
              <a:gd name="connsiteX24" fmla="*/ 163643 w 290316"/>
              <a:gd name="connsiteY24" fmla="*/ 22388 h 252000"/>
              <a:gd name="connsiteX25" fmla="*/ 187312 w 290316"/>
              <a:gd name="connsiteY25" fmla="*/ 3951 h 252000"/>
              <a:gd name="connsiteX26" fmla="*/ 206598 w 290316"/>
              <a:gd name="connsiteY26" fmla="*/ 0 h 252000"/>
              <a:gd name="connsiteX27" fmla="*/ 77181 w 290316"/>
              <a:gd name="connsiteY27" fmla="*/ 0 h 252000"/>
              <a:gd name="connsiteX28" fmla="*/ 167079 w 290316"/>
              <a:gd name="connsiteY28" fmla="*/ 0 h 252000"/>
              <a:gd name="connsiteX29" fmla="*/ 158308 w 290316"/>
              <a:gd name="connsiteY29" fmla="*/ 7901 h 252000"/>
              <a:gd name="connsiteX30" fmla="*/ 145153 w 290316"/>
              <a:gd name="connsiteY30" fmla="*/ 22386 h 252000"/>
              <a:gd name="connsiteX31" fmla="*/ 131120 w 290316"/>
              <a:gd name="connsiteY31" fmla="*/ 43016 h 252000"/>
              <a:gd name="connsiteX32" fmla="*/ 97353 w 290316"/>
              <a:gd name="connsiteY32" fmla="*/ 100956 h 252000"/>
              <a:gd name="connsiteX33" fmla="*/ 63586 w 290316"/>
              <a:gd name="connsiteY33" fmla="*/ 158896 h 252000"/>
              <a:gd name="connsiteX34" fmla="*/ 58763 w 290316"/>
              <a:gd name="connsiteY34" fmla="*/ 168553 h 252000"/>
              <a:gd name="connsiteX35" fmla="*/ 43853 w 290316"/>
              <a:gd name="connsiteY35" fmla="*/ 165480 h 252000"/>
              <a:gd name="connsiteX36" fmla="*/ 16226 w 290316"/>
              <a:gd name="connsiteY36" fmla="*/ 154068 h 252000"/>
              <a:gd name="connsiteX37" fmla="*/ 3070 w 290316"/>
              <a:gd name="connsiteY37" fmla="*/ 139583 h 252000"/>
              <a:gd name="connsiteX38" fmla="*/ 0 w 290316"/>
              <a:gd name="connsiteY38" fmla="*/ 133877 h 252000"/>
              <a:gd name="connsiteX39" fmla="*/ 2193 w 290316"/>
              <a:gd name="connsiteY39" fmla="*/ 129926 h 252000"/>
              <a:gd name="connsiteX40" fmla="*/ 77181 w 290316"/>
              <a:gd name="connsiteY40" fmla="*/ 0 h 25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290316" h="252000">
                <a:moveTo>
                  <a:pt x="22842" y="173895"/>
                </a:moveTo>
                <a:cubicBezTo>
                  <a:pt x="25911" y="175211"/>
                  <a:pt x="29857" y="176528"/>
                  <a:pt x="33802" y="177405"/>
                </a:cubicBezTo>
                <a:cubicBezTo>
                  <a:pt x="39063" y="178722"/>
                  <a:pt x="50024" y="181354"/>
                  <a:pt x="53093" y="181793"/>
                </a:cubicBezTo>
                <a:cubicBezTo>
                  <a:pt x="63176" y="183548"/>
                  <a:pt x="72383" y="183548"/>
                  <a:pt x="78082" y="183548"/>
                </a:cubicBezTo>
                <a:cubicBezTo>
                  <a:pt x="78082" y="183548"/>
                  <a:pt x="78082" y="183548"/>
                  <a:pt x="145159" y="183548"/>
                </a:cubicBezTo>
                <a:cubicBezTo>
                  <a:pt x="145159" y="183548"/>
                  <a:pt x="145159" y="183548"/>
                  <a:pt x="212237" y="183548"/>
                </a:cubicBezTo>
                <a:cubicBezTo>
                  <a:pt x="214867" y="183548"/>
                  <a:pt x="218374" y="183548"/>
                  <a:pt x="222759" y="183548"/>
                </a:cubicBezTo>
                <a:cubicBezTo>
                  <a:pt x="224512" y="188814"/>
                  <a:pt x="227581" y="197151"/>
                  <a:pt x="227581" y="197590"/>
                </a:cubicBezTo>
                <a:cubicBezTo>
                  <a:pt x="231527" y="208121"/>
                  <a:pt x="232842" y="218213"/>
                  <a:pt x="231965" y="227428"/>
                </a:cubicBezTo>
                <a:cubicBezTo>
                  <a:pt x="230650" y="236204"/>
                  <a:pt x="227581" y="242347"/>
                  <a:pt x="225827" y="246296"/>
                </a:cubicBezTo>
                <a:lnTo>
                  <a:pt x="222320" y="252000"/>
                </a:lnTo>
                <a:cubicBezTo>
                  <a:pt x="222320" y="252000"/>
                  <a:pt x="222320" y="252000"/>
                  <a:pt x="145159" y="252000"/>
                </a:cubicBezTo>
                <a:cubicBezTo>
                  <a:pt x="145159" y="252000"/>
                  <a:pt x="145159" y="252000"/>
                  <a:pt x="67999" y="252000"/>
                </a:cubicBezTo>
                <a:cubicBezTo>
                  <a:pt x="67999" y="252000"/>
                  <a:pt x="67999" y="252000"/>
                  <a:pt x="22842" y="173895"/>
                </a:cubicBezTo>
                <a:close/>
                <a:moveTo>
                  <a:pt x="206598" y="0"/>
                </a:moveTo>
                <a:cubicBezTo>
                  <a:pt x="206598" y="0"/>
                  <a:pt x="206598" y="0"/>
                  <a:pt x="213173" y="0"/>
                </a:cubicBezTo>
                <a:cubicBezTo>
                  <a:pt x="213173" y="0"/>
                  <a:pt x="213173" y="0"/>
                  <a:pt x="290316" y="133888"/>
                </a:cubicBezTo>
                <a:cubicBezTo>
                  <a:pt x="290316" y="133888"/>
                  <a:pt x="290316" y="133888"/>
                  <a:pt x="245608" y="212026"/>
                </a:cubicBezTo>
                <a:cubicBezTo>
                  <a:pt x="244731" y="208514"/>
                  <a:pt x="244293" y="204563"/>
                  <a:pt x="243416" y="200613"/>
                </a:cubicBezTo>
                <a:cubicBezTo>
                  <a:pt x="241663" y="195345"/>
                  <a:pt x="238157" y="184370"/>
                  <a:pt x="237280" y="181737"/>
                </a:cubicBezTo>
                <a:cubicBezTo>
                  <a:pt x="233773" y="172079"/>
                  <a:pt x="228952" y="164178"/>
                  <a:pt x="226322" y="158910"/>
                </a:cubicBezTo>
                <a:cubicBezTo>
                  <a:pt x="214926" y="139156"/>
                  <a:pt x="193010" y="100965"/>
                  <a:pt x="193010" y="100965"/>
                </a:cubicBezTo>
                <a:cubicBezTo>
                  <a:pt x="193010" y="100965"/>
                  <a:pt x="170656" y="62774"/>
                  <a:pt x="159260" y="43020"/>
                </a:cubicBezTo>
                <a:cubicBezTo>
                  <a:pt x="157945" y="40386"/>
                  <a:pt x="156192" y="37313"/>
                  <a:pt x="154000" y="33801"/>
                </a:cubicBezTo>
                <a:cubicBezTo>
                  <a:pt x="157507" y="29412"/>
                  <a:pt x="163205" y="23266"/>
                  <a:pt x="163643" y="22388"/>
                </a:cubicBezTo>
                <a:cubicBezTo>
                  <a:pt x="170656" y="14047"/>
                  <a:pt x="178984" y="7902"/>
                  <a:pt x="187312" y="3951"/>
                </a:cubicBezTo>
                <a:cubicBezTo>
                  <a:pt x="195202" y="878"/>
                  <a:pt x="202215" y="0"/>
                  <a:pt x="206598" y="0"/>
                </a:cubicBezTo>
                <a:close/>
                <a:moveTo>
                  <a:pt x="77181" y="0"/>
                </a:moveTo>
                <a:cubicBezTo>
                  <a:pt x="77181" y="0"/>
                  <a:pt x="77181" y="0"/>
                  <a:pt x="167079" y="0"/>
                </a:cubicBezTo>
                <a:cubicBezTo>
                  <a:pt x="164009" y="2195"/>
                  <a:pt x="161378" y="4828"/>
                  <a:pt x="158308" y="7901"/>
                </a:cubicBezTo>
                <a:cubicBezTo>
                  <a:pt x="154362" y="11412"/>
                  <a:pt x="147345" y="19752"/>
                  <a:pt x="145153" y="22386"/>
                </a:cubicBezTo>
                <a:cubicBezTo>
                  <a:pt x="138575" y="30287"/>
                  <a:pt x="133751" y="37749"/>
                  <a:pt x="131120" y="43016"/>
                </a:cubicBezTo>
                <a:cubicBezTo>
                  <a:pt x="119279" y="62768"/>
                  <a:pt x="97353" y="100956"/>
                  <a:pt x="97353" y="100956"/>
                </a:cubicBezTo>
                <a:cubicBezTo>
                  <a:pt x="97353" y="100956"/>
                  <a:pt x="75427" y="139144"/>
                  <a:pt x="63586" y="158896"/>
                </a:cubicBezTo>
                <a:cubicBezTo>
                  <a:pt x="62271" y="161530"/>
                  <a:pt x="60955" y="164603"/>
                  <a:pt x="58763" y="168553"/>
                </a:cubicBezTo>
                <a:cubicBezTo>
                  <a:pt x="53062" y="167236"/>
                  <a:pt x="44730" y="165919"/>
                  <a:pt x="43853" y="165480"/>
                </a:cubicBezTo>
                <a:cubicBezTo>
                  <a:pt x="32890" y="163725"/>
                  <a:pt x="23680" y="159774"/>
                  <a:pt x="16226" y="154068"/>
                </a:cubicBezTo>
                <a:cubicBezTo>
                  <a:pt x="9209" y="148801"/>
                  <a:pt x="5262" y="143095"/>
                  <a:pt x="3070" y="139583"/>
                </a:cubicBezTo>
                <a:cubicBezTo>
                  <a:pt x="3070" y="139583"/>
                  <a:pt x="3070" y="139583"/>
                  <a:pt x="0" y="133877"/>
                </a:cubicBezTo>
                <a:cubicBezTo>
                  <a:pt x="0" y="133877"/>
                  <a:pt x="0" y="133877"/>
                  <a:pt x="2193" y="129926"/>
                </a:cubicBezTo>
                <a:cubicBezTo>
                  <a:pt x="2193" y="129926"/>
                  <a:pt x="2193" y="129926"/>
                  <a:pt x="77181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7445681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martph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>
            <a:extLst>
              <a:ext uri="{FF2B5EF4-FFF2-40B4-BE49-F238E27FC236}">
                <a16:creationId xmlns:a16="http://schemas.microsoft.com/office/drawing/2014/main" id="{A1D18045-8E68-46CA-83F0-1F20C5F8A4B4}"/>
              </a:ext>
            </a:extLst>
          </p:cNvPr>
          <p:cNvSpPr/>
          <p:nvPr userDrawn="1"/>
        </p:nvSpPr>
        <p:spPr bwMode="white">
          <a:xfrm>
            <a:off x="8112124" y="0"/>
            <a:ext cx="4079875" cy="645318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sz="1200" b="1" noProof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631D01A-40CA-4B56-9A6A-2CCA5614247A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336550" y="0"/>
            <a:ext cx="7631114" cy="1123950"/>
          </a:xfrm>
        </p:spPr>
        <p:txBody>
          <a:bodyPr rIns="0"/>
          <a:lstStyle/>
          <a:p>
            <a:r>
              <a:rPr lang="en-US" noProof="0"/>
              <a:t>Click to edit Master title style</a:t>
            </a:r>
            <a:endParaRPr lang="de-DE" noProof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EC3B4A5E-48C8-4076-ADCC-30B7DD183BB5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34134789-E442-4249-9B2B-8E4ACAB8707D}" type="datetime1">
              <a:rPr lang="de-DE" noProof="0" smtClean="0"/>
              <a:t>22.10.2023</a:t>
            </a:fld>
            <a:endParaRPr lang="de-DE" sz="800" noProof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53F68D4-336C-44F9-8F3C-3F833A3CB0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pPr algn="ctr"/>
            <a:r>
              <a:rPr lang="de-DE" noProof="0"/>
              <a:t>Commerzbank AG, Max Mustermann, GM-C Brand Management 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6B524BB-DBA7-4204-85C4-747F2C0EBB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CAEFDB47-5D1C-45E7-8BD0-EF74349B00F7}" type="slidenum">
              <a:rPr lang="de-DE" noProof="0" smtClean="0"/>
              <a:pPr/>
              <a:t>‹#›</a:t>
            </a:fld>
            <a:endParaRPr lang="de-DE" b="0" noProof="0"/>
          </a:p>
        </p:txBody>
      </p:sp>
      <p:sp>
        <p:nvSpPr>
          <p:cNvPr id="11" name="Textplatzhalter 14">
            <a:extLst>
              <a:ext uri="{FF2B5EF4-FFF2-40B4-BE49-F238E27FC236}">
                <a16:creationId xmlns:a16="http://schemas.microsoft.com/office/drawing/2014/main" id="{9B47EE3E-3303-4D5D-8EAB-8FF2A3660BD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>
          <a:xfrm>
            <a:off x="336550" y="1411288"/>
            <a:ext cx="5688013" cy="5041901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de-DE" noProof="0"/>
          </a:p>
        </p:txBody>
      </p:sp>
      <p:pic>
        <p:nvPicPr>
          <p:cNvPr id="18" name="Grafik 17" descr="Ein Bild, das Text, Monitor, Screenshot enthält.&#10;&#10;Automatisch generierte Beschreibung">
            <a:extLst>
              <a:ext uri="{FF2B5EF4-FFF2-40B4-BE49-F238E27FC236}">
                <a16:creationId xmlns:a16="http://schemas.microsoft.com/office/drawing/2014/main" id="{13929267-5D41-4C78-AE1E-B162E81154B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960096" y="1411288"/>
            <a:ext cx="2414164" cy="4826047"/>
          </a:xfrm>
          <a:prstGeom prst="rect">
            <a:avLst/>
          </a:prstGeom>
        </p:spPr>
      </p:pic>
      <p:sp>
        <p:nvSpPr>
          <p:cNvPr id="20" name="Bildplatzhalter 19">
            <a:extLst>
              <a:ext uri="{FF2B5EF4-FFF2-40B4-BE49-F238E27FC236}">
                <a16:creationId xmlns:a16="http://schemas.microsoft.com/office/drawing/2014/main" id="{0FC5EB03-C5E0-458E-A02A-D04BFAA7E59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7096540" y="1530375"/>
            <a:ext cx="2117219" cy="4562845"/>
          </a:xfrm>
          <a:custGeom>
            <a:avLst/>
            <a:gdLst>
              <a:gd name="connsiteX0" fmla="*/ 217212 w 2117219"/>
              <a:gd name="connsiteY0" fmla="*/ 0 h 4562845"/>
              <a:gd name="connsiteX1" fmla="*/ 438004 w 2117219"/>
              <a:gd name="connsiteY1" fmla="*/ 0 h 4562845"/>
              <a:gd name="connsiteX2" fmla="*/ 475002 w 2117219"/>
              <a:gd name="connsiteY2" fmla="*/ 36970 h 4562845"/>
              <a:gd name="connsiteX3" fmla="*/ 475002 w 2117219"/>
              <a:gd name="connsiteY3" fmla="*/ 77518 h 4562845"/>
              <a:gd name="connsiteX4" fmla="*/ 577641 w 2117219"/>
              <a:gd name="connsiteY4" fmla="*/ 180081 h 4562845"/>
              <a:gd name="connsiteX5" fmla="*/ 1540772 w 2117219"/>
              <a:gd name="connsiteY5" fmla="*/ 180081 h 4562845"/>
              <a:gd name="connsiteX6" fmla="*/ 1643411 w 2117219"/>
              <a:gd name="connsiteY6" fmla="*/ 77518 h 4562845"/>
              <a:gd name="connsiteX7" fmla="*/ 1643411 w 2117219"/>
              <a:gd name="connsiteY7" fmla="*/ 36970 h 4562845"/>
              <a:gd name="connsiteX8" fmla="*/ 1680408 w 2117219"/>
              <a:gd name="connsiteY8" fmla="*/ 0 h 4562845"/>
              <a:gd name="connsiteX9" fmla="*/ 1900007 w 2117219"/>
              <a:gd name="connsiteY9" fmla="*/ 0 h 4562845"/>
              <a:gd name="connsiteX10" fmla="*/ 2117219 w 2117219"/>
              <a:gd name="connsiteY10" fmla="*/ 217051 h 4562845"/>
              <a:gd name="connsiteX11" fmla="*/ 2117219 w 2117219"/>
              <a:gd name="connsiteY11" fmla="*/ 4345794 h 4562845"/>
              <a:gd name="connsiteX12" fmla="*/ 1900007 w 2117219"/>
              <a:gd name="connsiteY12" fmla="*/ 4562845 h 4562845"/>
              <a:gd name="connsiteX13" fmla="*/ 217212 w 2117219"/>
              <a:gd name="connsiteY13" fmla="*/ 4562845 h 4562845"/>
              <a:gd name="connsiteX14" fmla="*/ 0 w 2117219"/>
              <a:gd name="connsiteY14" fmla="*/ 4345794 h 4562845"/>
              <a:gd name="connsiteX15" fmla="*/ 0 w 2117219"/>
              <a:gd name="connsiteY15" fmla="*/ 217051 h 4562845"/>
              <a:gd name="connsiteX16" fmla="*/ 217212 w 2117219"/>
              <a:gd name="connsiteY16" fmla="*/ 0 h 45628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2117219" h="4562845">
                <a:moveTo>
                  <a:pt x="217212" y="0"/>
                </a:moveTo>
                <a:cubicBezTo>
                  <a:pt x="438004" y="0"/>
                  <a:pt x="438004" y="0"/>
                  <a:pt x="438004" y="0"/>
                </a:cubicBezTo>
                <a:cubicBezTo>
                  <a:pt x="458293" y="0"/>
                  <a:pt x="475002" y="16696"/>
                  <a:pt x="475002" y="36970"/>
                </a:cubicBezTo>
                <a:cubicBezTo>
                  <a:pt x="475002" y="77518"/>
                  <a:pt x="475002" y="77518"/>
                  <a:pt x="475002" y="77518"/>
                </a:cubicBezTo>
                <a:cubicBezTo>
                  <a:pt x="475002" y="134763"/>
                  <a:pt x="520354" y="180081"/>
                  <a:pt x="577641" y="180081"/>
                </a:cubicBezTo>
                <a:cubicBezTo>
                  <a:pt x="1540772" y="180081"/>
                  <a:pt x="1540772" y="180081"/>
                  <a:pt x="1540772" y="180081"/>
                </a:cubicBezTo>
                <a:cubicBezTo>
                  <a:pt x="1596865" y="180081"/>
                  <a:pt x="1643411" y="134763"/>
                  <a:pt x="1643411" y="77518"/>
                </a:cubicBezTo>
                <a:cubicBezTo>
                  <a:pt x="1643411" y="36970"/>
                  <a:pt x="1643411" y="36970"/>
                  <a:pt x="1643411" y="36970"/>
                </a:cubicBezTo>
                <a:cubicBezTo>
                  <a:pt x="1643411" y="16696"/>
                  <a:pt x="1660119" y="0"/>
                  <a:pt x="1680408" y="0"/>
                </a:cubicBezTo>
                <a:cubicBezTo>
                  <a:pt x="1900007" y="0"/>
                  <a:pt x="1900007" y="0"/>
                  <a:pt x="1900007" y="0"/>
                </a:cubicBezTo>
                <a:cubicBezTo>
                  <a:pt x="2020548" y="0"/>
                  <a:pt x="2117219" y="97792"/>
                  <a:pt x="2117219" y="217051"/>
                </a:cubicBezTo>
                <a:lnTo>
                  <a:pt x="2117219" y="4345794"/>
                </a:lnTo>
                <a:cubicBezTo>
                  <a:pt x="2117219" y="4465053"/>
                  <a:pt x="2020548" y="4562845"/>
                  <a:pt x="1900007" y="4562845"/>
                </a:cubicBezTo>
                <a:cubicBezTo>
                  <a:pt x="217212" y="4562845"/>
                  <a:pt x="217212" y="4562845"/>
                  <a:pt x="217212" y="4562845"/>
                </a:cubicBezTo>
                <a:cubicBezTo>
                  <a:pt x="96671" y="4562845"/>
                  <a:pt x="0" y="4466246"/>
                  <a:pt x="0" y="4345794"/>
                </a:cubicBezTo>
                <a:cubicBezTo>
                  <a:pt x="0" y="217051"/>
                  <a:pt x="0" y="217051"/>
                  <a:pt x="0" y="217051"/>
                </a:cubicBezTo>
                <a:cubicBezTo>
                  <a:pt x="0" y="97792"/>
                  <a:pt x="96671" y="0"/>
                  <a:pt x="217212" y="0"/>
                </a:cubicBezTo>
                <a:close/>
              </a:path>
            </a:pathLst>
          </a:custGeom>
          <a:noFill/>
          <a:effectLst>
            <a:innerShdw blurRad="25400">
              <a:prstClr val="black">
                <a:alpha val="42000"/>
              </a:prstClr>
            </a:innerShdw>
          </a:effectLst>
        </p:spPr>
        <p:txBody>
          <a:bodyPr wrap="square" tIns="0" rIns="0" bIns="432000" anchor="b">
            <a:noAutofit/>
          </a:bodyPr>
          <a:lstStyle>
            <a:lvl1pPr marL="0" indent="0" algn="ctr">
              <a:buNone/>
              <a:defRPr sz="800">
                <a:solidFill>
                  <a:schemeClr val="accent6"/>
                </a:solidFill>
              </a:defRPr>
            </a:lvl1pPr>
          </a:lstStyle>
          <a:p>
            <a:r>
              <a:rPr lang="de-DE" noProof="0" dirty="0"/>
              <a:t>Fügen Sie ein Bild über Klicken auf das Symbol ein. </a:t>
            </a: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Alternativ kopieren Sie ein Bild in die Zwischenablage, wählen Sie den Platzhalter an und klicken Sie einfügen. </a:t>
            </a:r>
          </a:p>
        </p:txBody>
      </p:sp>
      <p:sp>
        <p:nvSpPr>
          <p:cNvPr id="12" name="Freihandform: Form 11">
            <a:extLst>
              <a:ext uri="{FF2B5EF4-FFF2-40B4-BE49-F238E27FC236}">
                <a16:creationId xmlns:a16="http://schemas.microsoft.com/office/drawing/2014/main" id="{BA18E35E-1CF0-4694-B887-FBC87659C307}"/>
              </a:ext>
            </a:extLst>
          </p:cNvPr>
          <p:cNvSpPr>
            <a:spLocks/>
          </p:cNvSpPr>
          <p:nvPr userDrawn="1"/>
        </p:nvSpPr>
        <p:spPr bwMode="invGray">
          <a:xfrm>
            <a:off x="11522271" y="260351"/>
            <a:ext cx="332854" cy="288924"/>
          </a:xfrm>
          <a:custGeom>
            <a:avLst/>
            <a:gdLst>
              <a:gd name="connsiteX0" fmla="*/ 22842 w 290316"/>
              <a:gd name="connsiteY0" fmla="*/ 173895 h 252000"/>
              <a:gd name="connsiteX1" fmla="*/ 33802 w 290316"/>
              <a:gd name="connsiteY1" fmla="*/ 177405 h 252000"/>
              <a:gd name="connsiteX2" fmla="*/ 53093 w 290316"/>
              <a:gd name="connsiteY2" fmla="*/ 181793 h 252000"/>
              <a:gd name="connsiteX3" fmla="*/ 78082 w 290316"/>
              <a:gd name="connsiteY3" fmla="*/ 183548 h 252000"/>
              <a:gd name="connsiteX4" fmla="*/ 145159 w 290316"/>
              <a:gd name="connsiteY4" fmla="*/ 183548 h 252000"/>
              <a:gd name="connsiteX5" fmla="*/ 212237 w 290316"/>
              <a:gd name="connsiteY5" fmla="*/ 183548 h 252000"/>
              <a:gd name="connsiteX6" fmla="*/ 222759 w 290316"/>
              <a:gd name="connsiteY6" fmla="*/ 183548 h 252000"/>
              <a:gd name="connsiteX7" fmla="*/ 227581 w 290316"/>
              <a:gd name="connsiteY7" fmla="*/ 197590 h 252000"/>
              <a:gd name="connsiteX8" fmla="*/ 231965 w 290316"/>
              <a:gd name="connsiteY8" fmla="*/ 227428 h 252000"/>
              <a:gd name="connsiteX9" fmla="*/ 225827 w 290316"/>
              <a:gd name="connsiteY9" fmla="*/ 246296 h 252000"/>
              <a:gd name="connsiteX10" fmla="*/ 222320 w 290316"/>
              <a:gd name="connsiteY10" fmla="*/ 252000 h 252000"/>
              <a:gd name="connsiteX11" fmla="*/ 145159 w 290316"/>
              <a:gd name="connsiteY11" fmla="*/ 252000 h 252000"/>
              <a:gd name="connsiteX12" fmla="*/ 67999 w 290316"/>
              <a:gd name="connsiteY12" fmla="*/ 252000 h 252000"/>
              <a:gd name="connsiteX13" fmla="*/ 22842 w 290316"/>
              <a:gd name="connsiteY13" fmla="*/ 173895 h 252000"/>
              <a:gd name="connsiteX14" fmla="*/ 206598 w 290316"/>
              <a:gd name="connsiteY14" fmla="*/ 0 h 252000"/>
              <a:gd name="connsiteX15" fmla="*/ 213173 w 290316"/>
              <a:gd name="connsiteY15" fmla="*/ 0 h 252000"/>
              <a:gd name="connsiteX16" fmla="*/ 290316 w 290316"/>
              <a:gd name="connsiteY16" fmla="*/ 133888 h 252000"/>
              <a:gd name="connsiteX17" fmla="*/ 245608 w 290316"/>
              <a:gd name="connsiteY17" fmla="*/ 212026 h 252000"/>
              <a:gd name="connsiteX18" fmla="*/ 243416 w 290316"/>
              <a:gd name="connsiteY18" fmla="*/ 200613 h 252000"/>
              <a:gd name="connsiteX19" fmla="*/ 237280 w 290316"/>
              <a:gd name="connsiteY19" fmla="*/ 181737 h 252000"/>
              <a:gd name="connsiteX20" fmla="*/ 226322 w 290316"/>
              <a:gd name="connsiteY20" fmla="*/ 158910 h 252000"/>
              <a:gd name="connsiteX21" fmla="*/ 193010 w 290316"/>
              <a:gd name="connsiteY21" fmla="*/ 100965 h 252000"/>
              <a:gd name="connsiteX22" fmla="*/ 159260 w 290316"/>
              <a:gd name="connsiteY22" fmla="*/ 43020 h 252000"/>
              <a:gd name="connsiteX23" fmla="*/ 154000 w 290316"/>
              <a:gd name="connsiteY23" fmla="*/ 33801 h 252000"/>
              <a:gd name="connsiteX24" fmla="*/ 163643 w 290316"/>
              <a:gd name="connsiteY24" fmla="*/ 22388 h 252000"/>
              <a:gd name="connsiteX25" fmla="*/ 187312 w 290316"/>
              <a:gd name="connsiteY25" fmla="*/ 3951 h 252000"/>
              <a:gd name="connsiteX26" fmla="*/ 206598 w 290316"/>
              <a:gd name="connsiteY26" fmla="*/ 0 h 252000"/>
              <a:gd name="connsiteX27" fmla="*/ 77181 w 290316"/>
              <a:gd name="connsiteY27" fmla="*/ 0 h 252000"/>
              <a:gd name="connsiteX28" fmla="*/ 167079 w 290316"/>
              <a:gd name="connsiteY28" fmla="*/ 0 h 252000"/>
              <a:gd name="connsiteX29" fmla="*/ 158308 w 290316"/>
              <a:gd name="connsiteY29" fmla="*/ 7901 h 252000"/>
              <a:gd name="connsiteX30" fmla="*/ 145153 w 290316"/>
              <a:gd name="connsiteY30" fmla="*/ 22386 h 252000"/>
              <a:gd name="connsiteX31" fmla="*/ 131120 w 290316"/>
              <a:gd name="connsiteY31" fmla="*/ 43016 h 252000"/>
              <a:gd name="connsiteX32" fmla="*/ 97353 w 290316"/>
              <a:gd name="connsiteY32" fmla="*/ 100956 h 252000"/>
              <a:gd name="connsiteX33" fmla="*/ 63586 w 290316"/>
              <a:gd name="connsiteY33" fmla="*/ 158896 h 252000"/>
              <a:gd name="connsiteX34" fmla="*/ 58763 w 290316"/>
              <a:gd name="connsiteY34" fmla="*/ 168553 h 252000"/>
              <a:gd name="connsiteX35" fmla="*/ 43853 w 290316"/>
              <a:gd name="connsiteY35" fmla="*/ 165480 h 252000"/>
              <a:gd name="connsiteX36" fmla="*/ 16226 w 290316"/>
              <a:gd name="connsiteY36" fmla="*/ 154068 h 252000"/>
              <a:gd name="connsiteX37" fmla="*/ 3070 w 290316"/>
              <a:gd name="connsiteY37" fmla="*/ 139583 h 252000"/>
              <a:gd name="connsiteX38" fmla="*/ 0 w 290316"/>
              <a:gd name="connsiteY38" fmla="*/ 133877 h 252000"/>
              <a:gd name="connsiteX39" fmla="*/ 2193 w 290316"/>
              <a:gd name="connsiteY39" fmla="*/ 129926 h 252000"/>
              <a:gd name="connsiteX40" fmla="*/ 77181 w 290316"/>
              <a:gd name="connsiteY40" fmla="*/ 0 h 25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290316" h="252000">
                <a:moveTo>
                  <a:pt x="22842" y="173895"/>
                </a:moveTo>
                <a:cubicBezTo>
                  <a:pt x="25911" y="175211"/>
                  <a:pt x="29857" y="176528"/>
                  <a:pt x="33802" y="177405"/>
                </a:cubicBezTo>
                <a:cubicBezTo>
                  <a:pt x="39063" y="178722"/>
                  <a:pt x="50024" y="181354"/>
                  <a:pt x="53093" y="181793"/>
                </a:cubicBezTo>
                <a:cubicBezTo>
                  <a:pt x="63176" y="183548"/>
                  <a:pt x="72383" y="183548"/>
                  <a:pt x="78082" y="183548"/>
                </a:cubicBezTo>
                <a:cubicBezTo>
                  <a:pt x="78082" y="183548"/>
                  <a:pt x="78082" y="183548"/>
                  <a:pt x="145159" y="183548"/>
                </a:cubicBezTo>
                <a:cubicBezTo>
                  <a:pt x="145159" y="183548"/>
                  <a:pt x="145159" y="183548"/>
                  <a:pt x="212237" y="183548"/>
                </a:cubicBezTo>
                <a:cubicBezTo>
                  <a:pt x="214867" y="183548"/>
                  <a:pt x="218374" y="183548"/>
                  <a:pt x="222759" y="183548"/>
                </a:cubicBezTo>
                <a:cubicBezTo>
                  <a:pt x="224512" y="188814"/>
                  <a:pt x="227581" y="197151"/>
                  <a:pt x="227581" y="197590"/>
                </a:cubicBezTo>
                <a:cubicBezTo>
                  <a:pt x="231527" y="208121"/>
                  <a:pt x="232842" y="218213"/>
                  <a:pt x="231965" y="227428"/>
                </a:cubicBezTo>
                <a:cubicBezTo>
                  <a:pt x="230650" y="236204"/>
                  <a:pt x="227581" y="242347"/>
                  <a:pt x="225827" y="246296"/>
                </a:cubicBezTo>
                <a:lnTo>
                  <a:pt x="222320" y="252000"/>
                </a:lnTo>
                <a:cubicBezTo>
                  <a:pt x="222320" y="252000"/>
                  <a:pt x="222320" y="252000"/>
                  <a:pt x="145159" y="252000"/>
                </a:cubicBezTo>
                <a:cubicBezTo>
                  <a:pt x="145159" y="252000"/>
                  <a:pt x="145159" y="252000"/>
                  <a:pt x="67999" y="252000"/>
                </a:cubicBezTo>
                <a:cubicBezTo>
                  <a:pt x="67999" y="252000"/>
                  <a:pt x="67999" y="252000"/>
                  <a:pt x="22842" y="173895"/>
                </a:cubicBezTo>
                <a:close/>
                <a:moveTo>
                  <a:pt x="206598" y="0"/>
                </a:moveTo>
                <a:cubicBezTo>
                  <a:pt x="206598" y="0"/>
                  <a:pt x="206598" y="0"/>
                  <a:pt x="213173" y="0"/>
                </a:cubicBezTo>
                <a:cubicBezTo>
                  <a:pt x="213173" y="0"/>
                  <a:pt x="213173" y="0"/>
                  <a:pt x="290316" y="133888"/>
                </a:cubicBezTo>
                <a:cubicBezTo>
                  <a:pt x="290316" y="133888"/>
                  <a:pt x="290316" y="133888"/>
                  <a:pt x="245608" y="212026"/>
                </a:cubicBezTo>
                <a:cubicBezTo>
                  <a:pt x="244731" y="208514"/>
                  <a:pt x="244293" y="204563"/>
                  <a:pt x="243416" y="200613"/>
                </a:cubicBezTo>
                <a:cubicBezTo>
                  <a:pt x="241663" y="195345"/>
                  <a:pt x="238157" y="184370"/>
                  <a:pt x="237280" y="181737"/>
                </a:cubicBezTo>
                <a:cubicBezTo>
                  <a:pt x="233773" y="172079"/>
                  <a:pt x="228952" y="164178"/>
                  <a:pt x="226322" y="158910"/>
                </a:cubicBezTo>
                <a:cubicBezTo>
                  <a:pt x="214926" y="139156"/>
                  <a:pt x="193010" y="100965"/>
                  <a:pt x="193010" y="100965"/>
                </a:cubicBezTo>
                <a:cubicBezTo>
                  <a:pt x="193010" y="100965"/>
                  <a:pt x="170656" y="62774"/>
                  <a:pt x="159260" y="43020"/>
                </a:cubicBezTo>
                <a:cubicBezTo>
                  <a:pt x="157945" y="40386"/>
                  <a:pt x="156192" y="37313"/>
                  <a:pt x="154000" y="33801"/>
                </a:cubicBezTo>
                <a:cubicBezTo>
                  <a:pt x="157507" y="29412"/>
                  <a:pt x="163205" y="23266"/>
                  <a:pt x="163643" y="22388"/>
                </a:cubicBezTo>
                <a:cubicBezTo>
                  <a:pt x="170656" y="14047"/>
                  <a:pt x="178984" y="7902"/>
                  <a:pt x="187312" y="3951"/>
                </a:cubicBezTo>
                <a:cubicBezTo>
                  <a:pt x="195202" y="878"/>
                  <a:pt x="202215" y="0"/>
                  <a:pt x="206598" y="0"/>
                </a:cubicBezTo>
                <a:close/>
                <a:moveTo>
                  <a:pt x="77181" y="0"/>
                </a:moveTo>
                <a:cubicBezTo>
                  <a:pt x="77181" y="0"/>
                  <a:pt x="77181" y="0"/>
                  <a:pt x="167079" y="0"/>
                </a:cubicBezTo>
                <a:cubicBezTo>
                  <a:pt x="164009" y="2195"/>
                  <a:pt x="161378" y="4828"/>
                  <a:pt x="158308" y="7901"/>
                </a:cubicBezTo>
                <a:cubicBezTo>
                  <a:pt x="154362" y="11412"/>
                  <a:pt x="147345" y="19752"/>
                  <a:pt x="145153" y="22386"/>
                </a:cubicBezTo>
                <a:cubicBezTo>
                  <a:pt x="138575" y="30287"/>
                  <a:pt x="133751" y="37749"/>
                  <a:pt x="131120" y="43016"/>
                </a:cubicBezTo>
                <a:cubicBezTo>
                  <a:pt x="119279" y="62768"/>
                  <a:pt x="97353" y="100956"/>
                  <a:pt x="97353" y="100956"/>
                </a:cubicBezTo>
                <a:cubicBezTo>
                  <a:pt x="97353" y="100956"/>
                  <a:pt x="75427" y="139144"/>
                  <a:pt x="63586" y="158896"/>
                </a:cubicBezTo>
                <a:cubicBezTo>
                  <a:pt x="62271" y="161530"/>
                  <a:pt x="60955" y="164603"/>
                  <a:pt x="58763" y="168553"/>
                </a:cubicBezTo>
                <a:cubicBezTo>
                  <a:pt x="53062" y="167236"/>
                  <a:pt x="44730" y="165919"/>
                  <a:pt x="43853" y="165480"/>
                </a:cubicBezTo>
                <a:cubicBezTo>
                  <a:pt x="32890" y="163725"/>
                  <a:pt x="23680" y="159774"/>
                  <a:pt x="16226" y="154068"/>
                </a:cubicBezTo>
                <a:cubicBezTo>
                  <a:pt x="9209" y="148801"/>
                  <a:pt x="5262" y="143095"/>
                  <a:pt x="3070" y="139583"/>
                </a:cubicBezTo>
                <a:cubicBezTo>
                  <a:pt x="3070" y="139583"/>
                  <a:pt x="3070" y="139583"/>
                  <a:pt x="0" y="133877"/>
                </a:cubicBezTo>
                <a:cubicBezTo>
                  <a:pt x="0" y="133877"/>
                  <a:pt x="0" y="133877"/>
                  <a:pt x="2193" y="129926"/>
                </a:cubicBezTo>
                <a:cubicBezTo>
                  <a:pt x="2193" y="129926"/>
                  <a:pt x="2193" y="129926"/>
                  <a:pt x="77181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341124284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Video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>
            <a:extLst>
              <a:ext uri="{FF2B5EF4-FFF2-40B4-BE49-F238E27FC236}">
                <a16:creationId xmlns:a16="http://schemas.microsoft.com/office/drawing/2014/main" id="{A1D18045-8E68-46CA-83F0-1F20C5F8A4B4}"/>
              </a:ext>
            </a:extLst>
          </p:cNvPr>
          <p:cNvSpPr/>
          <p:nvPr userDrawn="1"/>
        </p:nvSpPr>
        <p:spPr bwMode="white">
          <a:xfrm>
            <a:off x="8112125" y="0"/>
            <a:ext cx="4079874" cy="645318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sz="1200" b="1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631D01A-40CA-4B56-9A6A-2CCA5614247A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336550" y="0"/>
            <a:ext cx="7631114" cy="1123950"/>
          </a:xfrm>
        </p:spPr>
        <p:txBody>
          <a:bodyPr rIns="0"/>
          <a:lstStyle/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EC3B4A5E-48C8-4076-ADCC-30B7DD183BB5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1697722E-91E4-4B81-82DF-96317315EA7C}" type="datetime1">
              <a:rPr lang="de-DE" smtClean="0"/>
              <a:t>22.10.2023</a:t>
            </a:fld>
            <a:endParaRPr lang="de-DE" sz="80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53F68D4-336C-44F9-8F3C-3F833A3CB0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pPr algn="ctr"/>
            <a:r>
              <a:rPr lang="de-DE"/>
              <a:t>Commerzbank AG, Max Mustermann, GM-C Brand Management 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6B524BB-DBA7-4204-85C4-747F2C0EBB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CAEFDB47-5D1C-45E7-8BD0-EF74349B00F7}" type="slidenum">
              <a:rPr lang="de-DE" smtClean="0"/>
              <a:pPr/>
              <a:t>‹#›</a:t>
            </a:fld>
            <a:endParaRPr lang="de-DE" b="0"/>
          </a:p>
        </p:txBody>
      </p:sp>
      <p:sp>
        <p:nvSpPr>
          <p:cNvPr id="13" name="Textplatzhalter 14">
            <a:extLst>
              <a:ext uri="{FF2B5EF4-FFF2-40B4-BE49-F238E27FC236}">
                <a16:creationId xmlns:a16="http://schemas.microsoft.com/office/drawing/2014/main" id="{095A8B34-4A01-456A-B199-E260D416446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>
          <a:xfrm>
            <a:off x="336550" y="1411288"/>
            <a:ext cx="3743326" cy="5041901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de-DE" noProof="0"/>
          </a:p>
        </p:txBody>
      </p:sp>
      <p:pic>
        <p:nvPicPr>
          <p:cNvPr id="15" name="Grafik 14" descr="Ein Bild, das Text, Anzeige, Nachthimmel enthält.&#10;&#10;Automatisch generierte Beschreibung">
            <a:extLst>
              <a:ext uri="{FF2B5EF4-FFF2-40B4-BE49-F238E27FC236}">
                <a16:creationId xmlns:a16="http://schemas.microsoft.com/office/drawing/2014/main" id="{8AD75974-F525-4A18-8953-F7E9CD345E8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66725" y="1410971"/>
            <a:ext cx="7686480" cy="4385024"/>
          </a:xfrm>
          <a:prstGeom prst="rect">
            <a:avLst/>
          </a:prstGeom>
        </p:spPr>
      </p:pic>
      <p:sp>
        <p:nvSpPr>
          <p:cNvPr id="17" name="Medienplatzhalter 16">
            <a:extLst>
              <a:ext uri="{FF2B5EF4-FFF2-40B4-BE49-F238E27FC236}">
                <a16:creationId xmlns:a16="http://schemas.microsoft.com/office/drawing/2014/main" id="{D12B9425-A179-416D-B974-E93DC1E04346}"/>
              </a:ext>
            </a:extLst>
          </p:cNvPr>
          <p:cNvSpPr>
            <a:spLocks noGrp="1" noChangeAspect="1"/>
          </p:cNvSpPr>
          <p:nvPr>
            <p:ph type="media" sz="quarter" idx="18" hasCustomPrompt="1"/>
          </p:nvPr>
        </p:nvSpPr>
        <p:spPr bwMode="gray">
          <a:xfrm>
            <a:off x="5004793" y="1644285"/>
            <a:ext cx="6010349" cy="3735436"/>
          </a:xfrm>
          <a:custGeom>
            <a:avLst/>
            <a:gdLst>
              <a:gd name="connsiteX0" fmla="*/ 0 w 6010349"/>
              <a:gd name="connsiteY0" fmla="*/ 0 h 3735436"/>
              <a:gd name="connsiteX1" fmla="*/ 6010349 w 6010349"/>
              <a:gd name="connsiteY1" fmla="*/ 0 h 3735436"/>
              <a:gd name="connsiteX2" fmla="*/ 6010349 w 6010349"/>
              <a:gd name="connsiteY2" fmla="*/ 3735436 h 3735436"/>
              <a:gd name="connsiteX3" fmla="*/ 0 w 6010349"/>
              <a:gd name="connsiteY3" fmla="*/ 3735436 h 37354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10349" h="3735436">
                <a:moveTo>
                  <a:pt x="0" y="0"/>
                </a:moveTo>
                <a:lnTo>
                  <a:pt x="6010349" y="0"/>
                </a:lnTo>
                <a:lnTo>
                  <a:pt x="6010349" y="3735436"/>
                </a:lnTo>
                <a:lnTo>
                  <a:pt x="0" y="3735436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tIns="828000" anchor="ctr">
            <a:noAutofit/>
          </a:bodyPr>
          <a:lstStyle>
            <a:lvl1pPr marL="0" indent="0" algn="ctr">
              <a:buNone/>
              <a:defRPr sz="800" i="0">
                <a:solidFill>
                  <a:schemeClr val="bg1"/>
                </a:solidFill>
              </a:defRPr>
            </a:lvl1pPr>
          </a:lstStyle>
          <a:p>
            <a:r>
              <a:rPr lang="de-DE"/>
              <a:t>Video über Klicken auf Symbol hinzufügen</a:t>
            </a:r>
          </a:p>
        </p:txBody>
      </p:sp>
      <p:sp>
        <p:nvSpPr>
          <p:cNvPr id="11" name="Freihandform: Form 10">
            <a:extLst>
              <a:ext uri="{FF2B5EF4-FFF2-40B4-BE49-F238E27FC236}">
                <a16:creationId xmlns:a16="http://schemas.microsoft.com/office/drawing/2014/main" id="{9C6AB7C0-FDF3-419F-909D-8AAA701C9E17}"/>
              </a:ext>
            </a:extLst>
          </p:cNvPr>
          <p:cNvSpPr>
            <a:spLocks/>
          </p:cNvSpPr>
          <p:nvPr userDrawn="1"/>
        </p:nvSpPr>
        <p:spPr bwMode="invGray">
          <a:xfrm>
            <a:off x="11522271" y="260351"/>
            <a:ext cx="332854" cy="288924"/>
          </a:xfrm>
          <a:custGeom>
            <a:avLst/>
            <a:gdLst>
              <a:gd name="connsiteX0" fmla="*/ 22842 w 290316"/>
              <a:gd name="connsiteY0" fmla="*/ 173895 h 252000"/>
              <a:gd name="connsiteX1" fmla="*/ 33802 w 290316"/>
              <a:gd name="connsiteY1" fmla="*/ 177405 h 252000"/>
              <a:gd name="connsiteX2" fmla="*/ 53093 w 290316"/>
              <a:gd name="connsiteY2" fmla="*/ 181793 h 252000"/>
              <a:gd name="connsiteX3" fmla="*/ 78082 w 290316"/>
              <a:gd name="connsiteY3" fmla="*/ 183548 h 252000"/>
              <a:gd name="connsiteX4" fmla="*/ 145159 w 290316"/>
              <a:gd name="connsiteY4" fmla="*/ 183548 h 252000"/>
              <a:gd name="connsiteX5" fmla="*/ 212237 w 290316"/>
              <a:gd name="connsiteY5" fmla="*/ 183548 h 252000"/>
              <a:gd name="connsiteX6" fmla="*/ 222759 w 290316"/>
              <a:gd name="connsiteY6" fmla="*/ 183548 h 252000"/>
              <a:gd name="connsiteX7" fmla="*/ 227581 w 290316"/>
              <a:gd name="connsiteY7" fmla="*/ 197590 h 252000"/>
              <a:gd name="connsiteX8" fmla="*/ 231965 w 290316"/>
              <a:gd name="connsiteY8" fmla="*/ 227428 h 252000"/>
              <a:gd name="connsiteX9" fmla="*/ 225827 w 290316"/>
              <a:gd name="connsiteY9" fmla="*/ 246296 h 252000"/>
              <a:gd name="connsiteX10" fmla="*/ 222320 w 290316"/>
              <a:gd name="connsiteY10" fmla="*/ 252000 h 252000"/>
              <a:gd name="connsiteX11" fmla="*/ 145159 w 290316"/>
              <a:gd name="connsiteY11" fmla="*/ 252000 h 252000"/>
              <a:gd name="connsiteX12" fmla="*/ 67999 w 290316"/>
              <a:gd name="connsiteY12" fmla="*/ 252000 h 252000"/>
              <a:gd name="connsiteX13" fmla="*/ 22842 w 290316"/>
              <a:gd name="connsiteY13" fmla="*/ 173895 h 252000"/>
              <a:gd name="connsiteX14" fmla="*/ 206598 w 290316"/>
              <a:gd name="connsiteY14" fmla="*/ 0 h 252000"/>
              <a:gd name="connsiteX15" fmla="*/ 213173 w 290316"/>
              <a:gd name="connsiteY15" fmla="*/ 0 h 252000"/>
              <a:gd name="connsiteX16" fmla="*/ 290316 w 290316"/>
              <a:gd name="connsiteY16" fmla="*/ 133888 h 252000"/>
              <a:gd name="connsiteX17" fmla="*/ 245608 w 290316"/>
              <a:gd name="connsiteY17" fmla="*/ 212026 h 252000"/>
              <a:gd name="connsiteX18" fmla="*/ 243416 w 290316"/>
              <a:gd name="connsiteY18" fmla="*/ 200613 h 252000"/>
              <a:gd name="connsiteX19" fmla="*/ 237280 w 290316"/>
              <a:gd name="connsiteY19" fmla="*/ 181737 h 252000"/>
              <a:gd name="connsiteX20" fmla="*/ 226322 w 290316"/>
              <a:gd name="connsiteY20" fmla="*/ 158910 h 252000"/>
              <a:gd name="connsiteX21" fmla="*/ 193010 w 290316"/>
              <a:gd name="connsiteY21" fmla="*/ 100965 h 252000"/>
              <a:gd name="connsiteX22" fmla="*/ 159260 w 290316"/>
              <a:gd name="connsiteY22" fmla="*/ 43020 h 252000"/>
              <a:gd name="connsiteX23" fmla="*/ 154000 w 290316"/>
              <a:gd name="connsiteY23" fmla="*/ 33801 h 252000"/>
              <a:gd name="connsiteX24" fmla="*/ 163643 w 290316"/>
              <a:gd name="connsiteY24" fmla="*/ 22388 h 252000"/>
              <a:gd name="connsiteX25" fmla="*/ 187312 w 290316"/>
              <a:gd name="connsiteY25" fmla="*/ 3951 h 252000"/>
              <a:gd name="connsiteX26" fmla="*/ 206598 w 290316"/>
              <a:gd name="connsiteY26" fmla="*/ 0 h 252000"/>
              <a:gd name="connsiteX27" fmla="*/ 77181 w 290316"/>
              <a:gd name="connsiteY27" fmla="*/ 0 h 252000"/>
              <a:gd name="connsiteX28" fmla="*/ 167079 w 290316"/>
              <a:gd name="connsiteY28" fmla="*/ 0 h 252000"/>
              <a:gd name="connsiteX29" fmla="*/ 158308 w 290316"/>
              <a:gd name="connsiteY29" fmla="*/ 7901 h 252000"/>
              <a:gd name="connsiteX30" fmla="*/ 145153 w 290316"/>
              <a:gd name="connsiteY30" fmla="*/ 22386 h 252000"/>
              <a:gd name="connsiteX31" fmla="*/ 131120 w 290316"/>
              <a:gd name="connsiteY31" fmla="*/ 43016 h 252000"/>
              <a:gd name="connsiteX32" fmla="*/ 97353 w 290316"/>
              <a:gd name="connsiteY32" fmla="*/ 100956 h 252000"/>
              <a:gd name="connsiteX33" fmla="*/ 63586 w 290316"/>
              <a:gd name="connsiteY33" fmla="*/ 158896 h 252000"/>
              <a:gd name="connsiteX34" fmla="*/ 58763 w 290316"/>
              <a:gd name="connsiteY34" fmla="*/ 168553 h 252000"/>
              <a:gd name="connsiteX35" fmla="*/ 43853 w 290316"/>
              <a:gd name="connsiteY35" fmla="*/ 165480 h 252000"/>
              <a:gd name="connsiteX36" fmla="*/ 16226 w 290316"/>
              <a:gd name="connsiteY36" fmla="*/ 154068 h 252000"/>
              <a:gd name="connsiteX37" fmla="*/ 3070 w 290316"/>
              <a:gd name="connsiteY37" fmla="*/ 139583 h 252000"/>
              <a:gd name="connsiteX38" fmla="*/ 0 w 290316"/>
              <a:gd name="connsiteY38" fmla="*/ 133877 h 252000"/>
              <a:gd name="connsiteX39" fmla="*/ 2193 w 290316"/>
              <a:gd name="connsiteY39" fmla="*/ 129926 h 252000"/>
              <a:gd name="connsiteX40" fmla="*/ 77181 w 290316"/>
              <a:gd name="connsiteY40" fmla="*/ 0 h 25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290316" h="252000">
                <a:moveTo>
                  <a:pt x="22842" y="173895"/>
                </a:moveTo>
                <a:cubicBezTo>
                  <a:pt x="25911" y="175211"/>
                  <a:pt x="29857" y="176528"/>
                  <a:pt x="33802" y="177405"/>
                </a:cubicBezTo>
                <a:cubicBezTo>
                  <a:pt x="39063" y="178722"/>
                  <a:pt x="50024" y="181354"/>
                  <a:pt x="53093" y="181793"/>
                </a:cubicBezTo>
                <a:cubicBezTo>
                  <a:pt x="63176" y="183548"/>
                  <a:pt x="72383" y="183548"/>
                  <a:pt x="78082" y="183548"/>
                </a:cubicBezTo>
                <a:cubicBezTo>
                  <a:pt x="78082" y="183548"/>
                  <a:pt x="78082" y="183548"/>
                  <a:pt x="145159" y="183548"/>
                </a:cubicBezTo>
                <a:cubicBezTo>
                  <a:pt x="145159" y="183548"/>
                  <a:pt x="145159" y="183548"/>
                  <a:pt x="212237" y="183548"/>
                </a:cubicBezTo>
                <a:cubicBezTo>
                  <a:pt x="214867" y="183548"/>
                  <a:pt x="218374" y="183548"/>
                  <a:pt x="222759" y="183548"/>
                </a:cubicBezTo>
                <a:cubicBezTo>
                  <a:pt x="224512" y="188814"/>
                  <a:pt x="227581" y="197151"/>
                  <a:pt x="227581" y="197590"/>
                </a:cubicBezTo>
                <a:cubicBezTo>
                  <a:pt x="231527" y="208121"/>
                  <a:pt x="232842" y="218213"/>
                  <a:pt x="231965" y="227428"/>
                </a:cubicBezTo>
                <a:cubicBezTo>
                  <a:pt x="230650" y="236204"/>
                  <a:pt x="227581" y="242347"/>
                  <a:pt x="225827" y="246296"/>
                </a:cubicBezTo>
                <a:lnTo>
                  <a:pt x="222320" y="252000"/>
                </a:lnTo>
                <a:cubicBezTo>
                  <a:pt x="222320" y="252000"/>
                  <a:pt x="222320" y="252000"/>
                  <a:pt x="145159" y="252000"/>
                </a:cubicBezTo>
                <a:cubicBezTo>
                  <a:pt x="145159" y="252000"/>
                  <a:pt x="145159" y="252000"/>
                  <a:pt x="67999" y="252000"/>
                </a:cubicBezTo>
                <a:cubicBezTo>
                  <a:pt x="67999" y="252000"/>
                  <a:pt x="67999" y="252000"/>
                  <a:pt x="22842" y="173895"/>
                </a:cubicBezTo>
                <a:close/>
                <a:moveTo>
                  <a:pt x="206598" y="0"/>
                </a:moveTo>
                <a:cubicBezTo>
                  <a:pt x="206598" y="0"/>
                  <a:pt x="206598" y="0"/>
                  <a:pt x="213173" y="0"/>
                </a:cubicBezTo>
                <a:cubicBezTo>
                  <a:pt x="213173" y="0"/>
                  <a:pt x="213173" y="0"/>
                  <a:pt x="290316" y="133888"/>
                </a:cubicBezTo>
                <a:cubicBezTo>
                  <a:pt x="290316" y="133888"/>
                  <a:pt x="290316" y="133888"/>
                  <a:pt x="245608" y="212026"/>
                </a:cubicBezTo>
                <a:cubicBezTo>
                  <a:pt x="244731" y="208514"/>
                  <a:pt x="244293" y="204563"/>
                  <a:pt x="243416" y="200613"/>
                </a:cubicBezTo>
                <a:cubicBezTo>
                  <a:pt x="241663" y="195345"/>
                  <a:pt x="238157" y="184370"/>
                  <a:pt x="237280" y="181737"/>
                </a:cubicBezTo>
                <a:cubicBezTo>
                  <a:pt x="233773" y="172079"/>
                  <a:pt x="228952" y="164178"/>
                  <a:pt x="226322" y="158910"/>
                </a:cubicBezTo>
                <a:cubicBezTo>
                  <a:pt x="214926" y="139156"/>
                  <a:pt x="193010" y="100965"/>
                  <a:pt x="193010" y="100965"/>
                </a:cubicBezTo>
                <a:cubicBezTo>
                  <a:pt x="193010" y="100965"/>
                  <a:pt x="170656" y="62774"/>
                  <a:pt x="159260" y="43020"/>
                </a:cubicBezTo>
                <a:cubicBezTo>
                  <a:pt x="157945" y="40386"/>
                  <a:pt x="156192" y="37313"/>
                  <a:pt x="154000" y="33801"/>
                </a:cubicBezTo>
                <a:cubicBezTo>
                  <a:pt x="157507" y="29412"/>
                  <a:pt x="163205" y="23266"/>
                  <a:pt x="163643" y="22388"/>
                </a:cubicBezTo>
                <a:cubicBezTo>
                  <a:pt x="170656" y="14047"/>
                  <a:pt x="178984" y="7902"/>
                  <a:pt x="187312" y="3951"/>
                </a:cubicBezTo>
                <a:cubicBezTo>
                  <a:pt x="195202" y="878"/>
                  <a:pt x="202215" y="0"/>
                  <a:pt x="206598" y="0"/>
                </a:cubicBezTo>
                <a:close/>
                <a:moveTo>
                  <a:pt x="77181" y="0"/>
                </a:moveTo>
                <a:cubicBezTo>
                  <a:pt x="77181" y="0"/>
                  <a:pt x="77181" y="0"/>
                  <a:pt x="167079" y="0"/>
                </a:cubicBezTo>
                <a:cubicBezTo>
                  <a:pt x="164009" y="2195"/>
                  <a:pt x="161378" y="4828"/>
                  <a:pt x="158308" y="7901"/>
                </a:cubicBezTo>
                <a:cubicBezTo>
                  <a:pt x="154362" y="11412"/>
                  <a:pt x="147345" y="19752"/>
                  <a:pt x="145153" y="22386"/>
                </a:cubicBezTo>
                <a:cubicBezTo>
                  <a:pt x="138575" y="30287"/>
                  <a:pt x="133751" y="37749"/>
                  <a:pt x="131120" y="43016"/>
                </a:cubicBezTo>
                <a:cubicBezTo>
                  <a:pt x="119279" y="62768"/>
                  <a:pt x="97353" y="100956"/>
                  <a:pt x="97353" y="100956"/>
                </a:cubicBezTo>
                <a:cubicBezTo>
                  <a:pt x="97353" y="100956"/>
                  <a:pt x="75427" y="139144"/>
                  <a:pt x="63586" y="158896"/>
                </a:cubicBezTo>
                <a:cubicBezTo>
                  <a:pt x="62271" y="161530"/>
                  <a:pt x="60955" y="164603"/>
                  <a:pt x="58763" y="168553"/>
                </a:cubicBezTo>
                <a:cubicBezTo>
                  <a:pt x="53062" y="167236"/>
                  <a:pt x="44730" y="165919"/>
                  <a:pt x="43853" y="165480"/>
                </a:cubicBezTo>
                <a:cubicBezTo>
                  <a:pt x="32890" y="163725"/>
                  <a:pt x="23680" y="159774"/>
                  <a:pt x="16226" y="154068"/>
                </a:cubicBezTo>
                <a:cubicBezTo>
                  <a:pt x="9209" y="148801"/>
                  <a:pt x="5262" y="143095"/>
                  <a:pt x="3070" y="139583"/>
                </a:cubicBezTo>
                <a:cubicBezTo>
                  <a:pt x="3070" y="139583"/>
                  <a:pt x="3070" y="139583"/>
                  <a:pt x="0" y="133877"/>
                </a:cubicBezTo>
                <a:cubicBezTo>
                  <a:pt x="0" y="133877"/>
                  <a:pt x="0" y="133877"/>
                  <a:pt x="2193" y="129926"/>
                </a:cubicBezTo>
                <a:cubicBezTo>
                  <a:pt x="2193" y="129926"/>
                  <a:pt x="2193" y="129926"/>
                  <a:pt x="77181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212425285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/ Conten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>
            <a:extLst>
              <a:ext uri="{FF2B5EF4-FFF2-40B4-BE49-F238E27FC236}">
                <a16:creationId xmlns:a16="http://schemas.microsoft.com/office/drawing/2014/main" id="{BE95F051-78E1-4BBE-9041-A0D9098035B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invGray">
          <a:xfrm>
            <a:off x="336550" y="1125538"/>
            <a:ext cx="11520488" cy="3598862"/>
          </a:xfrm>
        </p:spPr>
        <p:txBody>
          <a:bodyPr/>
          <a:lstStyle>
            <a:lvl1pPr marL="0" indent="432000" algn="ctr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bg1"/>
              </a:buClr>
              <a:buFont typeface="+mj-lt"/>
              <a:buAutoNum type="arabicPeriod"/>
              <a:defRPr sz="3200" b="1">
                <a:solidFill>
                  <a:schemeClr val="bg1"/>
                </a:solidFill>
              </a:defRPr>
            </a:lvl1pPr>
            <a:lvl2pPr marL="0" indent="0" algn="ctr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</a:defRPr>
            </a:lvl2pPr>
            <a:lvl3pPr marL="0" indent="0" algn="ctr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</a:defRPr>
            </a:lvl3pPr>
            <a:lvl4pPr marL="0" indent="0" algn="ctr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</a:defRPr>
            </a:lvl4pPr>
            <a:lvl5pPr marL="0" indent="0" algn="ctr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</a:defRPr>
            </a:lvl5pPr>
            <a:lvl6pPr marL="0" indent="0" algn="ctr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</a:defRPr>
            </a:lvl6pPr>
            <a:lvl7pPr marL="0" indent="0" algn="ctr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</a:defRPr>
            </a:lvl7pPr>
            <a:lvl8pPr marL="0" indent="0" algn="ctr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</a:defRPr>
            </a:lvl8pPr>
            <a:lvl9pPr marL="0" indent="0" algn="ctr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AEFB2D47-3D81-4721-9D85-C768E73AE3DC}"/>
              </a:ext>
            </a:extLst>
          </p:cNvPr>
          <p:cNvSpPr txBox="1">
            <a:spLocks/>
          </p:cNvSpPr>
          <p:nvPr userDrawn="1"/>
        </p:nvSpPr>
        <p:spPr bwMode="invGray">
          <a:xfrm>
            <a:off x="5703746" y="5474076"/>
            <a:ext cx="784510" cy="211746"/>
          </a:xfrm>
          <a:custGeom>
            <a:avLst/>
            <a:gdLst/>
            <a:ahLst/>
            <a:cxnLst/>
            <a:rect l="l" t="t" r="r" b="b"/>
            <a:pathLst>
              <a:path w="784510" h="211746">
                <a:moveTo>
                  <a:pt x="757833" y="104143"/>
                </a:moveTo>
                <a:cubicBezTo>
                  <a:pt x="750541" y="107120"/>
                  <a:pt x="739602" y="109650"/>
                  <a:pt x="725017" y="111733"/>
                </a:cubicBezTo>
                <a:cubicBezTo>
                  <a:pt x="716757" y="112924"/>
                  <a:pt x="710915" y="114263"/>
                  <a:pt x="707492" y="115752"/>
                </a:cubicBezTo>
                <a:cubicBezTo>
                  <a:pt x="704069" y="117240"/>
                  <a:pt x="701427" y="119416"/>
                  <a:pt x="699567" y="122281"/>
                </a:cubicBezTo>
                <a:cubicBezTo>
                  <a:pt x="697707" y="125146"/>
                  <a:pt x="696776" y="128328"/>
                  <a:pt x="696776" y="131825"/>
                </a:cubicBezTo>
                <a:cubicBezTo>
                  <a:pt x="696776" y="137183"/>
                  <a:pt x="698804" y="141648"/>
                  <a:pt x="702860" y="145220"/>
                </a:cubicBezTo>
                <a:cubicBezTo>
                  <a:pt x="706915" y="148791"/>
                  <a:pt x="712850" y="150577"/>
                  <a:pt x="720663" y="150577"/>
                </a:cubicBezTo>
                <a:cubicBezTo>
                  <a:pt x="728402" y="150577"/>
                  <a:pt x="735286" y="148884"/>
                  <a:pt x="741313" y="145499"/>
                </a:cubicBezTo>
                <a:cubicBezTo>
                  <a:pt x="747341" y="142113"/>
                  <a:pt x="751768" y="137480"/>
                  <a:pt x="754596" y="131602"/>
                </a:cubicBezTo>
                <a:cubicBezTo>
                  <a:pt x="756754" y="127063"/>
                  <a:pt x="757833" y="120365"/>
                  <a:pt x="757833" y="111510"/>
                </a:cubicBezTo>
                <a:close/>
                <a:moveTo>
                  <a:pt x="593564" y="59048"/>
                </a:moveTo>
                <a:cubicBezTo>
                  <a:pt x="584634" y="59048"/>
                  <a:pt x="577174" y="62694"/>
                  <a:pt x="571184" y="69987"/>
                </a:cubicBezTo>
                <a:cubicBezTo>
                  <a:pt x="565194" y="77280"/>
                  <a:pt x="562199" y="88776"/>
                  <a:pt x="562199" y="104478"/>
                </a:cubicBezTo>
                <a:cubicBezTo>
                  <a:pt x="562199" y="119658"/>
                  <a:pt x="565398" y="131006"/>
                  <a:pt x="571798" y="138522"/>
                </a:cubicBezTo>
                <a:cubicBezTo>
                  <a:pt x="578198" y="146038"/>
                  <a:pt x="585751" y="149796"/>
                  <a:pt x="594457" y="149796"/>
                </a:cubicBezTo>
                <a:cubicBezTo>
                  <a:pt x="603238" y="149796"/>
                  <a:pt x="610698" y="146206"/>
                  <a:pt x="616837" y="139025"/>
                </a:cubicBezTo>
                <a:cubicBezTo>
                  <a:pt x="622976" y="131844"/>
                  <a:pt x="626046" y="120886"/>
                  <a:pt x="626046" y="106152"/>
                </a:cubicBezTo>
                <a:cubicBezTo>
                  <a:pt x="626046" y="89930"/>
                  <a:pt x="622920" y="78024"/>
                  <a:pt x="616670" y="70433"/>
                </a:cubicBezTo>
                <a:cubicBezTo>
                  <a:pt x="610419" y="62843"/>
                  <a:pt x="602717" y="59048"/>
                  <a:pt x="593564" y="59048"/>
                </a:cubicBezTo>
                <a:close/>
                <a:moveTo>
                  <a:pt x="203374" y="59048"/>
                </a:moveTo>
                <a:cubicBezTo>
                  <a:pt x="194444" y="59048"/>
                  <a:pt x="186854" y="62676"/>
                  <a:pt x="180603" y="69931"/>
                </a:cubicBezTo>
                <a:cubicBezTo>
                  <a:pt x="174352" y="77186"/>
                  <a:pt x="171227" y="87958"/>
                  <a:pt x="171227" y="102245"/>
                </a:cubicBezTo>
                <a:cubicBezTo>
                  <a:pt x="171227" y="117798"/>
                  <a:pt x="174315" y="129146"/>
                  <a:pt x="180492" y="136290"/>
                </a:cubicBezTo>
                <a:cubicBezTo>
                  <a:pt x="186668" y="143434"/>
                  <a:pt x="194407" y="147005"/>
                  <a:pt x="203709" y="147005"/>
                </a:cubicBezTo>
                <a:cubicBezTo>
                  <a:pt x="212936" y="147005"/>
                  <a:pt x="220675" y="143452"/>
                  <a:pt x="226926" y="136346"/>
                </a:cubicBezTo>
                <a:cubicBezTo>
                  <a:pt x="233177" y="129239"/>
                  <a:pt x="236302" y="118096"/>
                  <a:pt x="236302" y="102915"/>
                </a:cubicBezTo>
                <a:cubicBezTo>
                  <a:pt x="236302" y="88404"/>
                  <a:pt x="233084" y="77466"/>
                  <a:pt x="226647" y="70099"/>
                </a:cubicBezTo>
                <a:cubicBezTo>
                  <a:pt x="220210" y="62732"/>
                  <a:pt x="212452" y="59048"/>
                  <a:pt x="203374" y="59048"/>
                </a:cubicBezTo>
                <a:close/>
                <a:moveTo>
                  <a:pt x="340519" y="58936"/>
                </a:moveTo>
                <a:cubicBezTo>
                  <a:pt x="331292" y="58936"/>
                  <a:pt x="323534" y="62025"/>
                  <a:pt x="317246" y="68201"/>
                </a:cubicBezTo>
                <a:cubicBezTo>
                  <a:pt x="310958" y="74377"/>
                  <a:pt x="307479" y="82637"/>
                  <a:pt x="306809" y="92981"/>
                </a:cubicBezTo>
                <a:lnTo>
                  <a:pt x="373001" y="92981"/>
                </a:lnTo>
                <a:cubicBezTo>
                  <a:pt x="372108" y="83009"/>
                  <a:pt x="369578" y="75531"/>
                  <a:pt x="365411" y="70545"/>
                </a:cubicBezTo>
                <a:cubicBezTo>
                  <a:pt x="359011" y="62806"/>
                  <a:pt x="350714" y="58936"/>
                  <a:pt x="340519" y="58936"/>
                </a:cubicBezTo>
                <a:close/>
                <a:moveTo>
                  <a:pt x="732272" y="42417"/>
                </a:moveTo>
                <a:cubicBezTo>
                  <a:pt x="742392" y="42417"/>
                  <a:pt x="750615" y="43607"/>
                  <a:pt x="756940" y="45988"/>
                </a:cubicBezTo>
                <a:cubicBezTo>
                  <a:pt x="763265" y="48370"/>
                  <a:pt x="767916" y="51365"/>
                  <a:pt x="770893" y="54974"/>
                </a:cubicBezTo>
                <a:cubicBezTo>
                  <a:pt x="773869" y="58583"/>
                  <a:pt x="775953" y="63141"/>
                  <a:pt x="777143" y="68647"/>
                </a:cubicBezTo>
                <a:cubicBezTo>
                  <a:pt x="777813" y="72071"/>
                  <a:pt x="778148" y="78247"/>
                  <a:pt x="778148" y="87177"/>
                </a:cubicBezTo>
                <a:lnTo>
                  <a:pt x="778148" y="113966"/>
                </a:lnTo>
                <a:cubicBezTo>
                  <a:pt x="778148" y="132644"/>
                  <a:pt x="778576" y="144457"/>
                  <a:pt x="779432" y="149405"/>
                </a:cubicBezTo>
                <a:cubicBezTo>
                  <a:pt x="780287" y="154354"/>
                  <a:pt x="781980" y="159098"/>
                  <a:pt x="784510" y="163637"/>
                </a:cubicBezTo>
                <a:lnTo>
                  <a:pt x="763526" y="163637"/>
                </a:lnTo>
                <a:cubicBezTo>
                  <a:pt x="761442" y="159470"/>
                  <a:pt x="760103" y="154596"/>
                  <a:pt x="759507" y="149015"/>
                </a:cubicBezTo>
                <a:cubicBezTo>
                  <a:pt x="752066" y="155340"/>
                  <a:pt x="744904" y="159805"/>
                  <a:pt x="738020" y="162409"/>
                </a:cubicBezTo>
                <a:cubicBezTo>
                  <a:pt x="731137" y="165014"/>
                  <a:pt x="723751" y="166316"/>
                  <a:pt x="715864" y="166316"/>
                </a:cubicBezTo>
                <a:cubicBezTo>
                  <a:pt x="702841" y="166316"/>
                  <a:pt x="692832" y="163135"/>
                  <a:pt x="685838" y="156772"/>
                </a:cubicBezTo>
                <a:cubicBezTo>
                  <a:pt x="678843" y="150410"/>
                  <a:pt x="675345" y="142280"/>
                  <a:pt x="675345" y="132383"/>
                </a:cubicBezTo>
                <a:cubicBezTo>
                  <a:pt x="675345" y="126579"/>
                  <a:pt x="676666" y="121277"/>
                  <a:pt x="679308" y="116477"/>
                </a:cubicBezTo>
                <a:cubicBezTo>
                  <a:pt x="681949" y="111677"/>
                  <a:pt x="685410" y="107826"/>
                  <a:pt x="689688" y="104924"/>
                </a:cubicBezTo>
                <a:cubicBezTo>
                  <a:pt x="693967" y="102022"/>
                  <a:pt x="698786" y="99827"/>
                  <a:pt x="704143" y="98339"/>
                </a:cubicBezTo>
                <a:cubicBezTo>
                  <a:pt x="708087" y="97297"/>
                  <a:pt x="714040" y="96292"/>
                  <a:pt x="722003" y="95325"/>
                </a:cubicBezTo>
                <a:cubicBezTo>
                  <a:pt x="738225" y="93390"/>
                  <a:pt x="750168" y="91083"/>
                  <a:pt x="757833" y="88404"/>
                </a:cubicBezTo>
                <a:cubicBezTo>
                  <a:pt x="757908" y="85651"/>
                  <a:pt x="757945" y="83902"/>
                  <a:pt x="757945" y="83158"/>
                </a:cubicBezTo>
                <a:cubicBezTo>
                  <a:pt x="757945" y="74973"/>
                  <a:pt x="756047" y="69206"/>
                  <a:pt x="752252" y="65857"/>
                </a:cubicBezTo>
                <a:cubicBezTo>
                  <a:pt x="747117" y="61318"/>
                  <a:pt x="739490" y="59048"/>
                  <a:pt x="729370" y="59048"/>
                </a:cubicBezTo>
                <a:cubicBezTo>
                  <a:pt x="719919" y="59048"/>
                  <a:pt x="712943" y="60704"/>
                  <a:pt x="708441" y="64015"/>
                </a:cubicBezTo>
                <a:cubicBezTo>
                  <a:pt x="703939" y="67327"/>
                  <a:pt x="700609" y="73187"/>
                  <a:pt x="698451" y="81596"/>
                </a:cubicBezTo>
                <a:lnTo>
                  <a:pt x="678805" y="78917"/>
                </a:lnTo>
                <a:cubicBezTo>
                  <a:pt x="680591" y="70508"/>
                  <a:pt x="683531" y="63718"/>
                  <a:pt x="687623" y="58546"/>
                </a:cubicBezTo>
                <a:cubicBezTo>
                  <a:pt x="691716" y="53374"/>
                  <a:pt x="697632" y="49393"/>
                  <a:pt x="705371" y="46602"/>
                </a:cubicBezTo>
                <a:cubicBezTo>
                  <a:pt x="713110" y="43812"/>
                  <a:pt x="722077" y="42417"/>
                  <a:pt x="732272" y="42417"/>
                </a:cubicBezTo>
                <a:close/>
                <a:moveTo>
                  <a:pt x="471265" y="42417"/>
                </a:moveTo>
                <a:cubicBezTo>
                  <a:pt x="478408" y="42417"/>
                  <a:pt x="484975" y="43700"/>
                  <a:pt x="490966" y="46267"/>
                </a:cubicBezTo>
                <a:cubicBezTo>
                  <a:pt x="496956" y="48835"/>
                  <a:pt x="501439" y="52202"/>
                  <a:pt x="504416" y="56369"/>
                </a:cubicBezTo>
                <a:cubicBezTo>
                  <a:pt x="507393" y="60536"/>
                  <a:pt x="509476" y="65485"/>
                  <a:pt x="510667" y="71215"/>
                </a:cubicBezTo>
                <a:cubicBezTo>
                  <a:pt x="511411" y="74935"/>
                  <a:pt x="511783" y="81447"/>
                  <a:pt x="511783" y="90748"/>
                </a:cubicBezTo>
                <a:lnTo>
                  <a:pt x="511783" y="163637"/>
                </a:lnTo>
                <a:lnTo>
                  <a:pt x="491691" y="163637"/>
                </a:lnTo>
                <a:lnTo>
                  <a:pt x="491691" y="91530"/>
                </a:lnTo>
                <a:cubicBezTo>
                  <a:pt x="491691" y="83344"/>
                  <a:pt x="490910" y="77224"/>
                  <a:pt x="489347" y="73168"/>
                </a:cubicBezTo>
                <a:cubicBezTo>
                  <a:pt x="487784" y="69113"/>
                  <a:pt x="485013" y="65876"/>
                  <a:pt x="481031" y="63457"/>
                </a:cubicBezTo>
                <a:cubicBezTo>
                  <a:pt x="477050" y="61039"/>
                  <a:pt x="472381" y="59829"/>
                  <a:pt x="467023" y="59829"/>
                </a:cubicBezTo>
                <a:cubicBezTo>
                  <a:pt x="458465" y="59829"/>
                  <a:pt x="451080" y="62546"/>
                  <a:pt x="444866" y="67978"/>
                </a:cubicBezTo>
                <a:cubicBezTo>
                  <a:pt x="438653" y="73410"/>
                  <a:pt x="435546" y="83716"/>
                  <a:pt x="435546" y="98897"/>
                </a:cubicBezTo>
                <a:lnTo>
                  <a:pt x="435546" y="163637"/>
                </a:lnTo>
                <a:lnTo>
                  <a:pt x="415454" y="163637"/>
                </a:lnTo>
                <a:lnTo>
                  <a:pt x="415454" y="45095"/>
                </a:lnTo>
                <a:lnTo>
                  <a:pt x="433537" y="45095"/>
                </a:lnTo>
                <a:lnTo>
                  <a:pt x="433537" y="61950"/>
                </a:lnTo>
                <a:cubicBezTo>
                  <a:pt x="442243" y="48928"/>
                  <a:pt x="454819" y="42417"/>
                  <a:pt x="471265" y="42417"/>
                </a:cubicBezTo>
                <a:close/>
                <a:moveTo>
                  <a:pt x="340296" y="42417"/>
                </a:moveTo>
                <a:cubicBezTo>
                  <a:pt x="356146" y="42417"/>
                  <a:pt x="369094" y="47812"/>
                  <a:pt x="379140" y="58602"/>
                </a:cubicBezTo>
                <a:cubicBezTo>
                  <a:pt x="389186" y="69392"/>
                  <a:pt x="394209" y="84572"/>
                  <a:pt x="394209" y="104143"/>
                </a:cubicBezTo>
                <a:cubicBezTo>
                  <a:pt x="394209" y="105334"/>
                  <a:pt x="394172" y="107120"/>
                  <a:pt x="394097" y="109501"/>
                </a:cubicBezTo>
                <a:lnTo>
                  <a:pt x="305693" y="109501"/>
                </a:lnTo>
                <a:cubicBezTo>
                  <a:pt x="306437" y="122523"/>
                  <a:pt x="310121" y="132495"/>
                  <a:pt x="316744" y="139415"/>
                </a:cubicBezTo>
                <a:cubicBezTo>
                  <a:pt x="323367" y="146336"/>
                  <a:pt x="331627" y="149796"/>
                  <a:pt x="341524" y="149796"/>
                </a:cubicBezTo>
                <a:cubicBezTo>
                  <a:pt x="348891" y="149796"/>
                  <a:pt x="355179" y="147861"/>
                  <a:pt x="360388" y="143992"/>
                </a:cubicBezTo>
                <a:cubicBezTo>
                  <a:pt x="365597" y="140122"/>
                  <a:pt x="369727" y="133946"/>
                  <a:pt x="372778" y="125463"/>
                </a:cubicBezTo>
                <a:lnTo>
                  <a:pt x="393539" y="128030"/>
                </a:lnTo>
                <a:cubicBezTo>
                  <a:pt x="390265" y="140159"/>
                  <a:pt x="384200" y="149573"/>
                  <a:pt x="375345" y="156270"/>
                </a:cubicBezTo>
                <a:cubicBezTo>
                  <a:pt x="366490" y="162967"/>
                  <a:pt x="355179" y="166316"/>
                  <a:pt x="341412" y="166316"/>
                </a:cubicBezTo>
                <a:cubicBezTo>
                  <a:pt x="324074" y="166316"/>
                  <a:pt x="310326" y="160977"/>
                  <a:pt x="300168" y="150298"/>
                </a:cubicBezTo>
                <a:cubicBezTo>
                  <a:pt x="290011" y="139620"/>
                  <a:pt x="284932" y="124644"/>
                  <a:pt x="284932" y="105371"/>
                </a:cubicBezTo>
                <a:cubicBezTo>
                  <a:pt x="284932" y="85428"/>
                  <a:pt x="290066" y="69950"/>
                  <a:pt x="300335" y="58936"/>
                </a:cubicBezTo>
                <a:cubicBezTo>
                  <a:pt x="310605" y="47923"/>
                  <a:pt x="323925" y="42417"/>
                  <a:pt x="340296" y="42417"/>
                </a:cubicBezTo>
                <a:close/>
                <a:moveTo>
                  <a:pt x="201923" y="42417"/>
                </a:moveTo>
                <a:cubicBezTo>
                  <a:pt x="215913" y="42417"/>
                  <a:pt x="227447" y="48072"/>
                  <a:pt x="236525" y="59383"/>
                </a:cubicBezTo>
                <a:lnTo>
                  <a:pt x="236525" y="45095"/>
                </a:lnTo>
                <a:lnTo>
                  <a:pt x="255054" y="45095"/>
                </a:lnTo>
                <a:lnTo>
                  <a:pt x="255054" y="147564"/>
                </a:lnTo>
                <a:cubicBezTo>
                  <a:pt x="255054" y="166018"/>
                  <a:pt x="253176" y="179097"/>
                  <a:pt x="249418" y="186798"/>
                </a:cubicBezTo>
                <a:cubicBezTo>
                  <a:pt x="245660" y="194500"/>
                  <a:pt x="239707" y="200584"/>
                  <a:pt x="231558" y="205048"/>
                </a:cubicBezTo>
                <a:cubicBezTo>
                  <a:pt x="223410" y="209513"/>
                  <a:pt x="213383" y="211746"/>
                  <a:pt x="201476" y="211746"/>
                </a:cubicBezTo>
                <a:cubicBezTo>
                  <a:pt x="187338" y="211746"/>
                  <a:pt x="175915" y="208565"/>
                  <a:pt x="167209" y="202202"/>
                </a:cubicBezTo>
                <a:cubicBezTo>
                  <a:pt x="158502" y="195840"/>
                  <a:pt x="154298" y="186259"/>
                  <a:pt x="154596" y="173460"/>
                </a:cubicBezTo>
                <a:lnTo>
                  <a:pt x="174129" y="176362"/>
                </a:lnTo>
                <a:cubicBezTo>
                  <a:pt x="174948" y="182389"/>
                  <a:pt x="177217" y="186780"/>
                  <a:pt x="180938" y="189533"/>
                </a:cubicBezTo>
                <a:cubicBezTo>
                  <a:pt x="185924" y="193254"/>
                  <a:pt x="192733" y="195114"/>
                  <a:pt x="201365" y="195114"/>
                </a:cubicBezTo>
                <a:cubicBezTo>
                  <a:pt x="210667" y="195114"/>
                  <a:pt x="217847" y="193254"/>
                  <a:pt x="222908" y="189533"/>
                </a:cubicBezTo>
                <a:cubicBezTo>
                  <a:pt x="227968" y="185812"/>
                  <a:pt x="231391" y="180603"/>
                  <a:pt x="233177" y="173906"/>
                </a:cubicBezTo>
                <a:cubicBezTo>
                  <a:pt x="234219" y="169813"/>
                  <a:pt x="234702" y="161219"/>
                  <a:pt x="234628" y="148122"/>
                </a:cubicBezTo>
                <a:cubicBezTo>
                  <a:pt x="225847" y="158465"/>
                  <a:pt x="214908" y="163637"/>
                  <a:pt x="201811" y="163637"/>
                </a:cubicBezTo>
                <a:cubicBezTo>
                  <a:pt x="185515" y="163637"/>
                  <a:pt x="172901" y="157758"/>
                  <a:pt x="163972" y="146001"/>
                </a:cubicBezTo>
                <a:cubicBezTo>
                  <a:pt x="155042" y="134243"/>
                  <a:pt x="150577" y="120142"/>
                  <a:pt x="150577" y="103696"/>
                </a:cubicBezTo>
                <a:cubicBezTo>
                  <a:pt x="150577" y="92386"/>
                  <a:pt x="152624" y="81949"/>
                  <a:pt x="156716" y="72387"/>
                </a:cubicBezTo>
                <a:cubicBezTo>
                  <a:pt x="160809" y="62825"/>
                  <a:pt x="166744" y="55439"/>
                  <a:pt x="174520" y="50230"/>
                </a:cubicBezTo>
                <a:cubicBezTo>
                  <a:pt x="182296" y="45021"/>
                  <a:pt x="191430" y="42417"/>
                  <a:pt x="201923" y="42417"/>
                </a:cubicBezTo>
                <a:close/>
                <a:moveTo>
                  <a:pt x="74005" y="17190"/>
                </a:moveTo>
                <a:cubicBezTo>
                  <a:pt x="71921" y="27683"/>
                  <a:pt x="68982" y="38100"/>
                  <a:pt x="65187" y="48444"/>
                </a:cubicBezTo>
                <a:lnTo>
                  <a:pt x="47216" y="96441"/>
                </a:lnTo>
                <a:lnTo>
                  <a:pt x="102692" y="96441"/>
                </a:lnTo>
                <a:lnTo>
                  <a:pt x="85614" y="51123"/>
                </a:lnTo>
                <a:cubicBezTo>
                  <a:pt x="80405" y="37356"/>
                  <a:pt x="76535" y="26045"/>
                  <a:pt x="74005" y="17190"/>
                </a:cubicBezTo>
                <a:close/>
                <a:moveTo>
                  <a:pt x="624371" y="0"/>
                </a:moveTo>
                <a:lnTo>
                  <a:pt x="644352" y="0"/>
                </a:lnTo>
                <a:lnTo>
                  <a:pt x="644352" y="163637"/>
                </a:lnTo>
                <a:lnTo>
                  <a:pt x="625711" y="163637"/>
                </a:lnTo>
                <a:lnTo>
                  <a:pt x="625711" y="148680"/>
                </a:lnTo>
                <a:cubicBezTo>
                  <a:pt x="618195" y="160437"/>
                  <a:pt x="607145" y="166316"/>
                  <a:pt x="592559" y="166316"/>
                </a:cubicBezTo>
                <a:cubicBezTo>
                  <a:pt x="583109" y="166316"/>
                  <a:pt x="574421" y="163711"/>
                  <a:pt x="566496" y="158502"/>
                </a:cubicBezTo>
                <a:cubicBezTo>
                  <a:pt x="558571" y="153293"/>
                  <a:pt x="552432" y="146019"/>
                  <a:pt x="548078" y="136681"/>
                </a:cubicBezTo>
                <a:cubicBezTo>
                  <a:pt x="543725" y="127342"/>
                  <a:pt x="541549" y="116607"/>
                  <a:pt x="541549" y="104478"/>
                </a:cubicBezTo>
                <a:cubicBezTo>
                  <a:pt x="541549" y="92646"/>
                  <a:pt x="543521" y="81912"/>
                  <a:pt x="547465" y="72275"/>
                </a:cubicBezTo>
                <a:cubicBezTo>
                  <a:pt x="551409" y="62639"/>
                  <a:pt x="557324" y="55253"/>
                  <a:pt x="565212" y="50118"/>
                </a:cubicBezTo>
                <a:cubicBezTo>
                  <a:pt x="573100" y="44984"/>
                  <a:pt x="581918" y="42417"/>
                  <a:pt x="591667" y="42417"/>
                </a:cubicBezTo>
                <a:cubicBezTo>
                  <a:pt x="598810" y="42417"/>
                  <a:pt x="605173" y="43923"/>
                  <a:pt x="610754" y="46937"/>
                </a:cubicBezTo>
                <a:cubicBezTo>
                  <a:pt x="616335" y="49951"/>
                  <a:pt x="620874" y="53876"/>
                  <a:pt x="624371" y="58713"/>
                </a:cubicBezTo>
                <a:close/>
                <a:moveTo>
                  <a:pt x="62843" y="0"/>
                </a:moveTo>
                <a:lnTo>
                  <a:pt x="86172" y="0"/>
                </a:lnTo>
                <a:lnTo>
                  <a:pt x="153144" y="163637"/>
                </a:lnTo>
                <a:lnTo>
                  <a:pt x="128476" y="163637"/>
                </a:lnTo>
                <a:lnTo>
                  <a:pt x="109389" y="114077"/>
                </a:lnTo>
                <a:lnTo>
                  <a:pt x="40965" y="114077"/>
                </a:lnTo>
                <a:lnTo>
                  <a:pt x="22994" y="163637"/>
                </a:lnTo>
                <a:lnTo>
                  <a:pt x="0" y="16363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algn="ctr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1800" b="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de-DE" noProof="0"/>
          </a:p>
        </p:txBody>
      </p:sp>
      <p:sp>
        <p:nvSpPr>
          <p:cNvPr id="11" name="Google Shape;192;p37">
            <a:extLst>
              <a:ext uri="{FF2B5EF4-FFF2-40B4-BE49-F238E27FC236}">
                <a16:creationId xmlns:a16="http://schemas.microsoft.com/office/drawing/2014/main" id="{1DE45504-11DD-4AE5-9D58-228ADD011102}"/>
              </a:ext>
            </a:extLst>
          </p:cNvPr>
          <p:cNvSpPr/>
          <p:nvPr userDrawn="1"/>
        </p:nvSpPr>
        <p:spPr bwMode="gray">
          <a:xfrm>
            <a:off x="5232000" y="4868863"/>
            <a:ext cx="1731102" cy="142423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>
            <a:noFill/>
          </a:ln>
        </p:spPr>
        <p:txBody>
          <a:bodyPr spcFirstLastPara="1" wrap="square" lIns="91450" tIns="45700" rIns="91450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de-DE" sz="1800" noProof="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3869C199-7777-4DD5-A74D-6B4B6B0D6A5A}"/>
              </a:ext>
            </a:extLst>
          </p:cNvPr>
          <p:cNvSpPr>
            <a:spLocks noGrp="1"/>
          </p:cNvSpPr>
          <p:nvPr>
            <p:ph type="dt" sz="half" idx="14"/>
          </p:nvPr>
        </p:nvSpPr>
        <p:spPr bwMode="inv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C62A6E7-389E-4E89-A786-2259640CCAF9}" type="datetime1">
              <a:rPr lang="de-DE" noProof="0" smtClean="0"/>
              <a:t>22.10.2023</a:t>
            </a:fld>
            <a:endParaRPr lang="de-DE" noProof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94115067-4170-4AE6-BF5C-69E8138CF80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 bwMode="inv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Commerzbank AG, Anton Mattuschat, GS-TF 13 </a:t>
            </a:r>
            <a:r>
              <a:rPr lang="de-DE" dirty="0" err="1"/>
              <a:t>Operations</a:t>
            </a:r>
            <a:r>
              <a:rPr lang="de-DE" dirty="0"/>
              <a:t> &amp; </a:t>
            </a:r>
            <a:r>
              <a:rPr lang="de-DE" dirty="0" err="1"/>
              <a:t>Monetoring</a:t>
            </a:r>
            <a:r>
              <a:rPr lang="de-DE" dirty="0"/>
              <a:t> </a:t>
            </a:r>
            <a:endParaRPr lang="de-DE" noProof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40BE1DB-AC6B-4E05-B638-3A67ABEEEEA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inv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AEFDB47-5D1C-45E7-8BD0-EF74349B00F7}" type="slidenum">
              <a:rPr lang="de-DE" noProof="0" smtClean="0"/>
              <a:pPr/>
              <a:t>‹#›</a:t>
            </a:fld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23145864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mmary with Fullsiz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hteck 14">
            <a:extLst>
              <a:ext uri="{FF2B5EF4-FFF2-40B4-BE49-F238E27FC236}">
                <a16:creationId xmlns:a16="http://schemas.microsoft.com/office/drawing/2014/main" id="{3D84946B-E163-4ADA-8A99-DC1319431949}"/>
              </a:ext>
            </a:extLst>
          </p:cNvPr>
          <p:cNvSpPr/>
          <p:nvPr userDrawn="1"/>
        </p:nvSpPr>
        <p:spPr bwMode="gray">
          <a:xfrm>
            <a:off x="0" y="0"/>
            <a:ext cx="12192000" cy="645318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sz="1200" b="1">
              <a:solidFill>
                <a:schemeClr val="bg1"/>
              </a:solidFill>
            </a:endParaRPr>
          </a:p>
        </p:txBody>
      </p:sp>
      <p:sp>
        <p:nvSpPr>
          <p:cNvPr id="10" name="Bildplatzhalter 8">
            <a:extLst>
              <a:ext uri="{FF2B5EF4-FFF2-40B4-BE49-F238E27FC236}">
                <a16:creationId xmlns:a16="http://schemas.microsoft.com/office/drawing/2014/main" id="{CEC443DD-2BF6-4B18-84D7-A28FE56FF26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0" y="0"/>
            <a:ext cx="12192000" cy="6453188"/>
          </a:xfrm>
          <a:noFill/>
        </p:spPr>
        <p:txBody>
          <a:bodyPr lIns="0" tIns="0" rIns="0" bIns="576000" anchor="b"/>
          <a:lstStyle>
            <a:lvl1pPr marL="0" indent="0" algn="ctr">
              <a:buNone/>
              <a:defRPr sz="800">
                <a:solidFill>
                  <a:schemeClr val="accent6"/>
                </a:solidFill>
              </a:defRPr>
            </a:lvl1pPr>
          </a:lstStyle>
          <a:p>
            <a:r>
              <a:rPr lang="de-DE" noProof="0" dirty="0"/>
              <a:t>Fügen Sie ein Bild über Klicken auf das Symbol ein. </a:t>
            </a: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Alternativ kopieren Sie ein Bild in die Zwischenablage, </a:t>
            </a:r>
            <a:br>
              <a:rPr lang="de-DE" noProof="0" dirty="0"/>
            </a:br>
            <a:r>
              <a:rPr lang="de-DE" noProof="0" dirty="0"/>
              <a:t>wählen Sie den Platzhalter an und klicken Sie einfügen. </a:t>
            </a: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Achten Sie darauf, dass das Logo im Vordergrund ist und </a:t>
            </a:r>
            <a:br>
              <a:rPr lang="de-DE" noProof="0" dirty="0"/>
            </a:br>
            <a:r>
              <a:rPr lang="de-DE" noProof="0" dirty="0"/>
              <a:t>wählen Sie bei hellen Bildern Petrol als Logofarbe.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82F830EA-47C1-4965-BD05-B1B8E92212E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1722437" y="1412876"/>
            <a:ext cx="7218363" cy="3311524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1200"/>
              </a:spcBef>
              <a:spcAft>
                <a:spcPts val="1200"/>
              </a:spcAft>
              <a:buNone/>
              <a:defRPr sz="3200" b="1">
                <a:solidFill>
                  <a:schemeClr val="bg1"/>
                </a:solidFill>
              </a:defRPr>
            </a:lvl1pPr>
            <a:lvl2pPr marL="0" indent="0">
              <a:spcBef>
                <a:spcPts val="600"/>
              </a:spcBef>
              <a:spcAft>
                <a:spcPts val="0"/>
              </a:spcAft>
              <a:buClrTx/>
              <a:buNone/>
              <a:defRPr>
                <a:solidFill>
                  <a:schemeClr val="bg1"/>
                </a:solidFill>
              </a:defRPr>
            </a:lvl2pPr>
            <a:lvl3pPr marL="180000" indent="-180000">
              <a:buClrTx/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 marL="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</a:defRPr>
            </a:lvl5pPr>
            <a:lvl6pPr marL="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</a:defRPr>
            </a:lvl6pPr>
            <a:lvl7pPr marL="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</a:defRPr>
            </a:lvl7pPr>
            <a:lvl8pPr marL="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</a:defRPr>
            </a:lvl8pPr>
            <a:lvl9pPr marL="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  <p:sp>
        <p:nvSpPr>
          <p:cNvPr id="12" name="SmartArt-Platzhalter 11">
            <a:extLst>
              <a:ext uri="{FF2B5EF4-FFF2-40B4-BE49-F238E27FC236}">
                <a16:creationId xmlns:a16="http://schemas.microsoft.com/office/drawing/2014/main" id="{90E25250-96E1-4A78-9EE6-8AD9112BF777}"/>
              </a:ext>
            </a:extLst>
          </p:cNvPr>
          <p:cNvSpPr>
            <a:spLocks noGrp="1"/>
          </p:cNvSpPr>
          <p:nvPr>
            <p:ph type="dgm" sz="quarter" idx="15"/>
          </p:nvPr>
        </p:nvSpPr>
        <p:spPr bwMode="gray">
          <a:xfrm>
            <a:off x="11522271" y="260351"/>
            <a:ext cx="332854" cy="288924"/>
          </a:xfrm>
          <a:custGeom>
            <a:avLst/>
            <a:gdLst>
              <a:gd name="connsiteX0" fmla="*/ 26189 w 332854"/>
              <a:gd name="connsiteY0" fmla="*/ 199375 h 288924"/>
              <a:gd name="connsiteX1" fmla="*/ 38755 w 332854"/>
              <a:gd name="connsiteY1" fmla="*/ 203399 h 288924"/>
              <a:gd name="connsiteX2" fmla="*/ 60872 w 332854"/>
              <a:gd name="connsiteY2" fmla="*/ 208430 h 288924"/>
              <a:gd name="connsiteX3" fmla="*/ 89523 w 332854"/>
              <a:gd name="connsiteY3" fmla="*/ 210442 h 288924"/>
              <a:gd name="connsiteX4" fmla="*/ 166428 w 332854"/>
              <a:gd name="connsiteY4" fmla="*/ 210442 h 288924"/>
              <a:gd name="connsiteX5" fmla="*/ 243335 w 332854"/>
              <a:gd name="connsiteY5" fmla="*/ 210442 h 288924"/>
              <a:gd name="connsiteX6" fmla="*/ 255398 w 332854"/>
              <a:gd name="connsiteY6" fmla="*/ 210442 h 288924"/>
              <a:gd name="connsiteX7" fmla="*/ 260927 w 332854"/>
              <a:gd name="connsiteY7" fmla="*/ 226542 h 288924"/>
              <a:gd name="connsiteX8" fmla="*/ 265953 w 332854"/>
              <a:gd name="connsiteY8" fmla="*/ 260752 h 288924"/>
              <a:gd name="connsiteX9" fmla="*/ 258916 w 332854"/>
              <a:gd name="connsiteY9" fmla="*/ 282384 h 288924"/>
              <a:gd name="connsiteX10" fmla="*/ 254895 w 332854"/>
              <a:gd name="connsiteY10" fmla="*/ 288924 h 288924"/>
              <a:gd name="connsiteX11" fmla="*/ 253513 w 332854"/>
              <a:gd name="connsiteY11" fmla="*/ 288924 h 288924"/>
              <a:gd name="connsiteX12" fmla="*/ 243837 w 332854"/>
              <a:gd name="connsiteY12" fmla="*/ 288924 h 288924"/>
              <a:gd name="connsiteX13" fmla="*/ 217573 w 332854"/>
              <a:gd name="connsiteY13" fmla="*/ 288924 h 288924"/>
              <a:gd name="connsiteX14" fmla="*/ 166428 w 332854"/>
              <a:gd name="connsiteY14" fmla="*/ 288924 h 288924"/>
              <a:gd name="connsiteX15" fmla="*/ 165046 w 332854"/>
              <a:gd name="connsiteY15" fmla="*/ 288924 h 288924"/>
              <a:gd name="connsiteX16" fmla="*/ 155370 w 332854"/>
              <a:gd name="connsiteY16" fmla="*/ 288924 h 288924"/>
              <a:gd name="connsiteX17" fmla="*/ 129106 w 332854"/>
              <a:gd name="connsiteY17" fmla="*/ 288924 h 288924"/>
              <a:gd name="connsiteX18" fmla="*/ 77962 w 332854"/>
              <a:gd name="connsiteY18" fmla="*/ 288924 h 288924"/>
              <a:gd name="connsiteX19" fmla="*/ 26189 w 332854"/>
              <a:gd name="connsiteY19" fmla="*/ 199375 h 288924"/>
              <a:gd name="connsiteX20" fmla="*/ 236869 w 332854"/>
              <a:gd name="connsiteY20" fmla="*/ 0 h 288924"/>
              <a:gd name="connsiteX21" fmla="*/ 237811 w 332854"/>
              <a:gd name="connsiteY21" fmla="*/ 0 h 288924"/>
              <a:gd name="connsiteX22" fmla="*/ 244408 w 332854"/>
              <a:gd name="connsiteY22" fmla="*/ 0 h 288924"/>
              <a:gd name="connsiteX23" fmla="*/ 332854 w 332854"/>
              <a:gd name="connsiteY23" fmla="*/ 153506 h 288924"/>
              <a:gd name="connsiteX24" fmla="*/ 281595 w 332854"/>
              <a:gd name="connsiteY24" fmla="*/ 243093 h 288924"/>
              <a:gd name="connsiteX25" fmla="*/ 279082 w 332854"/>
              <a:gd name="connsiteY25" fmla="*/ 230008 h 288924"/>
              <a:gd name="connsiteX26" fmla="*/ 272047 w 332854"/>
              <a:gd name="connsiteY26" fmla="*/ 208366 h 288924"/>
              <a:gd name="connsiteX27" fmla="*/ 259483 w 332854"/>
              <a:gd name="connsiteY27" fmla="*/ 182194 h 288924"/>
              <a:gd name="connsiteX28" fmla="*/ 221290 w 332854"/>
              <a:gd name="connsiteY28" fmla="*/ 115759 h 288924"/>
              <a:gd name="connsiteX29" fmla="*/ 182595 w 332854"/>
              <a:gd name="connsiteY29" fmla="*/ 49323 h 288924"/>
              <a:gd name="connsiteX30" fmla="*/ 176565 w 332854"/>
              <a:gd name="connsiteY30" fmla="*/ 38754 h 288924"/>
              <a:gd name="connsiteX31" fmla="*/ 187620 w 332854"/>
              <a:gd name="connsiteY31" fmla="*/ 25668 h 288924"/>
              <a:gd name="connsiteX32" fmla="*/ 214758 w 332854"/>
              <a:gd name="connsiteY32" fmla="*/ 4530 h 288924"/>
              <a:gd name="connsiteX33" fmla="*/ 236869 w 332854"/>
              <a:gd name="connsiteY33" fmla="*/ 0 h 288924"/>
              <a:gd name="connsiteX34" fmla="*/ 88490 w 332854"/>
              <a:gd name="connsiteY34" fmla="*/ 0 h 288924"/>
              <a:gd name="connsiteX35" fmla="*/ 90100 w 332854"/>
              <a:gd name="connsiteY35" fmla="*/ 0 h 288924"/>
              <a:gd name="connsiteX36" fmla="*/ 101374 w 332854"/>
              <a:gd name="connsiteY36" fmla="*/ 0 h 288924"/>
              <a:gd name="connsiteX37" fmla="*/ 131973 w 332854"/>
              <a:gd name="connsiteY37" fmla="*/ 0 h 288924"/>
              <a:gd name="connsiteX38" fmla="*/ 157539 w 332854"/>
              <a:gd name="connsiteY38" fmla="*/ 0 h 288924"/>
              <a:gd name="connsiteX39" fmla="*/ 191560 w 332854"/>
              <a:gd name="connsiteY39" fmla="*/ 0 h 288924"/>
              <a:gd name="connsiteX40" fmla="*/ 181504 w 332854"/>
              <a:gd name="connsiteY40" fmla="*/ 9059 h 288924"/>
              <a:gd name="connsiteX41" fmla="*/ 166421 w 332854"/>
              <a:gd name="connsiteY41" fmla="*/ 25666 h 288924"/>
              <a:gd name="connsiteX42" fmla="*/ 150332 w 332854"/>
              <a:gd name="connsiteY42" fmla="*/ 49319 h 288924"/>
              <a:gd name="connsiteX43" fmla="*/ 111617 w 332854"/>
              <a:gd name="connsiteY43" fmla="*/ 115748 h 288924"/>
              <a:gd name="connsiteX44" fmla="*/ 72903 w 332854"/>
              <a:gd name="connsiteY44" fmla="*/ 182178 h 288924"/>
              <a:gd name="connsiteX45" fmla="*/ 67373 w 332854"/>
              <a:gd name="connsiteY45" fmla="*/ 193250 h 288924"/>
              <a:gd name="connsiteX46" fmla="*/ 50278 w 332854"/>
              <a:gd name="connsiteY46" fmla="*/ 189727 h 288924"/>
              <a:gd name="connsiteX47" fmla="*/ 18603 w 332854"/>
              <a:gd name="connsiteY47" fmla="*/ 176643 h 288924"/>
              <a:gd name="connsiteX48" fmla="*/ 3520 w 332854"/>
              <a:gd name="connsiteY48" fmla="*/ 160035 h 288924"/>
              <a:gd name="connsiteX49" fmla="*/ 0 w 332854"/>
              <a:gd name="connsiteY49" fmla="*/ 153493 h 288924"/>
              <a:gd name="connsiteX50" fmla="*/ 2514 w 332854"/>
              <a:gd name="connsiteY50" fmla="*/ 148963 h 288924"/>
              <a:gd name="connsiteX51" fmla="*/ 88490 w 332854"/>
              <a:gd name="connsiteY51" fmla="*/ 0 h 2889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</a:cxnLst>
            <a:rect l="l" t="t" r="r" b="b"/>
            <a:pathLst>
              <a:path w="332854" h="288924">
                <a:moveTo>
                  <a:pt x="26189" y="199375"/>
                </a:moveTo>
                <a:cubicBezTo>
                  <a:pt x="29708" y="200884"/>
                  <a:pt x="34232" y="202394"/>
                  <a:pt x="38755" y="203399"/>
                </a:cubicBezTo>
                <a:cubicBezTo>
                  <a:pt x="44787" y="204909"/>
                  <a:pt x="57354" y="207927"/>
                  <a:pt x="60872" y="208430"/>
                </a:cubicBezTo>
                <a:cubicBezTo>
                  <a:pt x="72433" y="210442"/>
                  <a:pt x="82989" y="210442"/>
                  <a:pt x="89523" y="210442"/>
                </a:cubicBezTo>
                <a:cubicBezTo>
                  <a:pt x="89523" y="210442"/>
                  <a:pt x="89523" y="210442"/>
                  <a:pt x="166428" y="210442"/>
                </a:cubicBezTo>
                <a:cubicBezTo>
                  <a:pt x="166428" y="210442"/>
                  <a:pt x="166428" y="210442"/>
                  <a:pt x="243335" y="210442"/>
                </a:cubicBezTo>
                <a:cubicBezTo>
                  <a:pt x="246350" y="210442"/>
                  <a:pt x="250371" y="210442"/>
                  <a:pt x="255398" y="210442"/>
                </a:cubicBezTo>
                <a:cubicBezTo>
                  <a:pt x="257408" y="216480"/>
                  <a:pt x="260927" y="226038"/>
                  <a:pt x="260927" y="226542"/>
                </a:cubicBezTo>
                <a:cubicBezTo>
                  <a:pt x="265451" y="238616"/>
                  <a:pt x="266959" y="250186"/>
                  <a:pt x="265953" y="260752"/>
                </a:cubicBezTo>
                <a:cubicBezTo>
                  <a:pt x="264446" y="270814"/>
                  <a:pt x="260927" y="277857"/>
                  <a:pt x="258916" y="282384"/>
                </a:cubicBezTo>
                <a:lnTo>
                  <a:pt x="254895" y="288924"/>
                </a:lnTo>
                <a:lnTo>
                  <a:pt x="253513" y="288924"/>
                </a:lnTo>
                <a:lnTo>
                  <a:pt x="243837" y="288924"/>
                </a:lnTo>
                <a:lnTo>
                  <a:pt x="217573" y="288924"/>
                </a:lnTo>
                <a:lnTo>
                  <a:pt x="166428" y="288924"/>
                </a:lnTo>
                <a:lnTo>
                  <a:pt x="165046" y="288924"/>
                </a:lnTo>
                <a:lnTo>
                  <a:pt x="155370" y="288924"/>
                </a:lnTo>
                <a:lnTo>
                  <a:pt x="129106" y="288924"/>
                </a:lnTo>
                <a:lnTo>
                  <a:pt x="77962" y="288924"/>
                </a:lnTo>
                <a:cubicBezTo>
                  <a:pt x="77962" y="288924"/>
                  <a:pt x="77962" y="288924"/>
                  <a:pt x="26189" y="199375"/>
                </a:cubicBezTo>
                <a:close/>
                <a:moveTo>
                  <a:pt x="236869" y="0"/>
                </a:moveTo>
                <a:lnTo>
                  <a:pt x="237811" y="0"/>
                </a:lnTo>
                <a:lnTo>
                  <a:pt x="244408" y="0"/>
                </a:lnTo>
                <a:cubicBezTo>
                  <a:pt x="244408" y="0"/>
                  <a:pt x="244408" y="0"/>
                  <a:pt x="332854" y="153506"/>
                </a:cubicBezTo>
                <a:cubicBezTo>
                  <a:pt x="332854" y="153506"/>
                  <a:pt x="332854" y="153506"/>
                  <a:pt x="281595" y="243093"/>
                </a:cubicBezTo>
                <a:cubicBezTo>
                  <a:pt x="280590" y="239066"/>
                  <a:pt x="280088" y="234536"/>
                  <a:pt x="279082" y="230008"/>
                </a:cubicBezTo>
                <a:cubicBezTo>
                  <a:pt x="277072" y="223968"/>
                  <a:pt x="273053" y="211385"/>
                  <a:pt x="272047" y="208366"/>
                </a:cubicBezTo>
                <a:cubicBezTo>
                  <a:pt x="268026" y="197293"/>
                  <a:pt x="262499" y="188234"/>
                  <a:pt x="259483" y="182194"/>
                </a:cubicBezTo>
                <a:cubicBezTo>
                  <a:pt x="246418" y="159546"/>
                  <a:pt x="221290" y="115759"/>
                  <a:pt x="221290" y="115759"/>
                </a:cubicBezTo>
                <a:cubicBezTo>
                  <a:pt x="221290" y="115759"/>
                  <a:pt x="195661" y="71972"/>
                  <a:pt x="182595" y="49323"/>
                </a:cubicBezTo>
                <a:cubicBezTo>
                  <a:pt x="181088" y="46304"/>
                  <a:pt x="179078" y="42780"/>
                  <a:pt x="176565" y="38754"/>
                </a:cubicBezTo>
                <a:cubicBezTo>
                  <a:pt x="180585" y="33722"/>
                  <a:pt x="187118" y="26675"/>
                  <a:pt x="187620" y="25668"/>
                </a:cubicBezTo>
                <a:cubicBezTo>
                  <a:pt x="195661" y="16105"/>
                  <a:pt x="205209" y="9060"/>
                  <a:pt x="214758" y="4530"/>
                </a:cubicBezTo>
                <a:cubicBezTo>
                  <a:pt x="223804" y="1007"/>
                  <a:pt x="231844" y="0"/>
                  <a:pt x="236869" y="0"/>
                </a:cubicBezTo>
                <a:close/>
                <a:moveTo>
                  <a:pt x="88490" y="0"/>
                </a:moveTo>
                <a:lnTo>
                  <a:pt x="90100" y="0"/>
                </a:lnTo>
                <a:lnTo>
                  <a:pt x="101374" y="0"/>
                </a:lnTo>
                <a:lnTo>
                  <a:pt x="131973" y="0"/>
                </a:lnTo>
                <a:lnTo>
                  <a:pt x="157539" y="0"/>
                </a:lnTo>
                <a:lnTo>
                  <a:pt x="191560" y="0"/>
                </a:lnTo>
                <a:cubicBezTo>
                  <a:pt x="188040" y="2517"/>
                  <a:pt x="185024" y="5535"/>
                  <a:pt x="181504" y="9059"/>
                </a:cubicBezTo>
                <a:cubicBezTo>
                  <a:pt x="176980" y="13084"/>
                  <a:pt x="168934" y="22646"/>
                  <a:pt x="166421" y="25666"/>
                </a:cubicBezTo>
                <a:cubicBezTo>
                  <a:pt x="158879" y="34725"/>
                  <a:pt x="153349" y="43280"/>
                  <a:pt x="150332" y="49319"/>
                </a:cubicBezTo>
                <a:cubicBezTo>
                  <a:pt x="136756" y="71965"/>
                  <a:pt x="111617" y="115748"/>
                  <a:pt x="111617" y="115748"/>
                </a:cubicBezTo>
                <a:cubicBezTo>
                  <a:pt x="111617" y="115748"/>
                  <a:pt x="86479" y="159532"/>
                  <a:pt x="72903" y="182178"/>
                </a:cubicBezTo>
                <a:cubicBezTo>
                  <a:pt x="71395" y="185198"/>
                  <a:pt x="69886" y="188721"/>
                  <a:pt x="67373" y="193250"/>
                </a:cubicBezTo>
                <a:cubicBezTo>
                  <a:pt x="60837" y="191740"/>
                  <a:pt x="51284" y="190230"/>
                  <a:pt x="50278" y="189727"/>
                </a:cubicBezTo>
                <a:cubicBezTo>
                  <a:pt x="37709" y="187715"/>
                  <a:pt x="27150" y="183185"/>
                  <a:pt x="18603" y="176643"/>
                </a:cubicBezTo>
                <a:cubicBezTo>
                  <a:pt x="10558" y="170604"/>
                  <a:pt x="6033" y="164062"/>
                  <a:pt x="3520" y="160035"/>
                </a:cubicBezTo>
                <a:cubicBezTo>
                  <a:pt x="3520" y="160035"/>
                  <a:pt x="3520" y="160035"/>
                  <a:pt x="0" y="153493"/>
                </a:cubicBezTo>
                <a:cubicBezTo>
                  <a:pt x="0" y="153493"/>
                  <a:pt x="0" y="153493"/>
                  <a:pt x="2514" y="148963"/>
                </a:cubicBezTo>
                <a:cubicBezTo>
                  <a:pt x="2514" y="148963"/>
                  <a:pt x="2514" y="148963"/>
                  <a:pt x="88490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r>
              <a:rPr lang="en-US" noProof="0"/>
              <a:t>Click icon to add SmartArt graphic</a:t>
            </a:r>
            <a:endParaRPr lang="de-DE" noProof="0" dirty="0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ACF53ED3-38A7-4F5B-8F74-CF94F11AE3B5}"/>
              </a:ext>
            </a:extLst>
          </p:cNvPr>
          <p:cNvSpPr>
            <a:spLocks noGrp="1"/>
          </p:cNvSpPr>
          <p:nvPr>
            <p:ph type="dt" sz="half" idx="20"/>
          </p:nvPr>
        </p:nvSpPr>
        <p:spPr bwMode="gray"/>
        <p:txBody>
          <a:bodyPr/>
          <a:lstStyle/>
          <a:p>
            <a:fld id="{354587EC-2A70-4AA8-942F-DD71A2B82C88}" type="datetime1">
              <a:rPr lang="de-DE" noProof="0" smtClean="0"/>
              <a:t>22.10.2023</a:t>
            </a:fld>
            <a:endParaRPr lang="de-DE" sz="800" noProof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FDB4A587-2B48-47E5-8FC8-FCC736BF5F61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 bwMode="gray"/>
        <p:txBody>
          <a:bodyPr/>
          <a:lstStyle/>
          <a:p>
            <a:pPr algn="ctr"/>
            <a:r>
              <a:rPr lang="de-DE" noProof="0"/>
              <a:t>Commerzbank AG, Max Mustermann, GM-C Brand Management 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359E580F-6707-42B3-AB53-A8B38B0BBB54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 bwMode="gray"/>
        <p:txBody>
          <a:bodyPr/>
          <a:lstStyle/>
          <a:p>
            <a:fld id="{CAEFDB47-5D1C-45E7-8BD0-EF74349B00F7}" type="slidenum">
              <a:rPr lang="de-DE" noProof="0" smtClean="0"/>
              <a:pPr/>
              <a:t>‹#›</a:t>
            </a:fld>
            <a:endParaRPr lang="de-DE" b="1" noProof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4CF59287-810C-47D8-BAD6-E90E56A6D618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1722436" y="836613"/>
            <a:ext cx="5094289" cy="574675"/>
          </a:xfrm>
        </p:spPr>
        <p:txBody>
          <a:bodyPr tIns="144000" rIns="0"/>
          <a:lstStyle>
            <a:lvl1pPr>
              <a:defRPr sz="12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309731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ADC53E4D-953C-F945-E6E8-2F38F8993EFA}"/>
              </a:ext>
            </a:extLst>
          </p:cNvPr>
          <p:cNvSpPr/>
          <p:nvPr userDrawn="1"/>
        </p:nvSpPr>
        <p:spPr bwMode="gray">
          <a:xfrm>
            <a:off x="11438361" y="239316"/>
            <a:ext cx="467915" cy="40124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lnSpc>
                <a:spcPct val="110000"/>
              </a:lnSpc>
              <a:spcBef>
                <a:spcPts val="600"/>
              </a:spcBef>
            </a:pPr>
            <a:endParaRPr lang="de-CH" sz="1200" b="1" dirty="0" err="1">
              <a:solidFill>
                <a:schemeClr val="bg1"/>
              </a:solidFill>
            </a:endParaRPr>
          </a:p>
        </p:txBody>
      </p:sp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3F34628A-9FDF-4CC5-8075-404915653DB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038504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3F34628A-9FDF-4CC5-8075-404915653DB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Bildplatzhalter 8">
            <a:extLst>
              <a:ext uri="{FF2B5EF4-FFF2-40B4-BE49-F238E27FC236}">
                <a16:creationId xmlns:a16="http://schemas.microsoft.com/office/drawing/2014/main" id="{6DB4EBAE-7EE0-4A7F-BCB2-9B2864E73D23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8112124" y="0"/>
            <a:ext cx="4079875" cy="6453188"/>
          </a:xfrm>
          <a:noFill/>
        </p:spPr>
        <p:txBody>
          <a:bodyPr lIns="0" tIns="0" rIns="0" bIns="576000" anchor="b"/>
          <a:lstStyle>
            <a:lvl1pPr marL="0" indent="0" algn="ctr">
              <a:buNone/>
              <a:defRPr sz="800">
                <a:solidFill>
                  <a:schemeClr val="accent4"/>
                </a:solidFill>
              </a:defRPr>
            </a:lvl1pPr>
          </a:lstStyle>
          <a:p>
            <a:r>
              <a:rPr lang="de-DE" noProof="0"/>
              <a:t>Fügen Sie ein Bild über Klicken auf das Symbol ein. </a:t>
            </a:r>
            <a:br>
              <a:rPr lang="de-DE" noProof="0"/>
            </a:br>
            <a:br>
              <a:rPr lang="de-DE" noProof="0"/>
            </a:br>
            <a:r>
              <a:rPr lang="de-DE" noProof="0"/>
              <a:t>Alternativ kopieren Sie ein Bild in die Zwischenablage, </a:t>
            </a:r>
            <a:br>
              <a:rPr lang="de-DE" noProof="0"/>
            </a:br>
            <a:r>
              <a:rPr lang="de-DE" noProof="0"/>
              <a:t>wählen Sie den Platzhalter an und klicken Sie einfügen. </a:t>
            </a:r>
            <a:br>
              <a:rPr lang="de-DE" noProof="0"/>
            </a:br>
            <a:br>
              <a:rPr lang="de-DE" noProof="0"/>
            </a:br>
            <a:r>
              <a:rPr lang="de-DE" noProof="0"/>
              <a:t>Achten Sie darauf, dass das Logo im Vordergrund ist und </a:t>
            </a:r>
            <a:br>
              <a:rPr lang="de-DE" noProof="0"/>
            </a:br>
            <a:r>
              <a:rPr lang="de-DE" noProof="0"/>
              <a:t>wählen Sie bei hellen Bildern Petrol als Logofarbe.</a:t>
            </a:r>
          </a:p>
        </p:txBody>
      </p:sp>
      <p:sp>
        <p:nvSpPr>
          <p:cNvPr id="12" name="SmartArt-Platzhalter 11">
            <a:extLst>
              <a:ext uri="{FF2B5EF4-FFF2-40B4-BE49-F238E27FC236}">
                <a16:creationId xmlns:a16="http://schemas.microsoft.com/office/drawing/2014/main" id="{90E25250-96E1-4A78-9EE6-8AD9112BF777}"/>
              </a:ext>
            </a:extLst>
          </p:cNvPr>
          <p:cNvSpPr>
            <a:spLocks noGrp="1"/>
          </p:cNvSpPr>
          <p:nvPr>
            <p:ph type="dgm" sz="quarter" idx="15"/>
          </p:nvPr>
        </p:nvSpPr>
        <p:spPr bwMode="gray">
          <a:xfrm>
            <a:off x="11522271" y="260351"/>
            <a:ext cx="332854" cy="288924"/>
          </a:xfrm>
          <a:custGeom>
            <a:avLst/>
            <a:gdLst>
              <a:gd name="connsiteX0" fmla="*/ 26189 w 332854"/>
              <a:gd name="connsiteY0" fmla="*/ 199375 h 288924"/>
              <a:gd name="connsiteX1" fmla="*/ 38755 w 332854"/>
              <a:gd name="connsiteY1" fmla="*/ 203399 h 288924"/>
              <a:gd name="connsiteX2" fmla="*/ 60872 w 332854"/>
              <a:gd name="connsiteY2" fmla="*/ 208430 h 288924"/>
              <a:gd name="connsiteX3" fmla="*/ 89523 w 332854"/>
              <a:gd name="connsiteY3" fmla="*/ 210442 h 288924"/>
              <a:gd name="connsiteX4" fmla="*/ 166428 w 332854"/>
              <a:gd name="connsiteY4" fmla="*/ 210442 h 288924"/>
              <a:gd name="connsiteX5" fmla="*/ 243335 w 332854"/>
              <a:gd name="connsiteY5" fmla="*/ 210442 h 288924"/>
              <a:gd name="connsiteX6" fmla="*/ 255398 w 332854"/>
              <a:gd name="connsiteY6" fmla="*/ 210442 h 288924"/>
              <a:gd name="connsiteX7" fmla="*/ 260927 w 332854"/>
              <a:gd name="connsiteY7" fmla="*/ 226542 h 288924"/>
              <a:gd name="connsiteX8" fmla="*/ 265953 w 332854"/>
              <a:gd name="connsiteY8" fmla="*/ 260752 h 288924"/>
              <a:gd name="connsiteX9" fmla="*/ 258916 w 332854"/>
              <a:gd name="connsiteY9" fmla="*/ 282384 h 288924"/>
              <a:gd name="connsiteX10" fmla="*/ 254895 w 332854"/>
              <a:gd name="connsiteY10" fmla="*/ 288924 h 288924"/>
              <a:gd name="connsiteX11" fmla="*/ 253513 w 332854"/>
              <a:gd name="connsiteY11" fmla="*/ 288924 h 288924"/>
              <a:gd name="connsiteX12" fmla="*/ 243837 w 332854"/>
              <a:gd name="connsiteY12" fmla="*/ 288924 h 288924"/>
              <a:gd name="connsiteX13" fmla="*/ 217573 w 332854"/>
              <a:gd name="connsiteY13" fmla="*/ 288924 h 288924"/>
              <a:gd name="connsiteX14" fmla="*/ 166428 w 332854"/>
              <a:gd name="connsiteY14" fmla="*/ 288924 h 288924"/>
              <a:gd name="connsiteX15" fmla="*/ 165046 w 332854"/>
              <a:gd name="connsiteY15" fmla="*/ 288924 h 288924"/>
              <a:gd name="connsiteX16" fmla="*/ 155370 w 332854"/>
              <a:gd name="connsiteY16" fmla="*/ 288924 h 288924"/>
              <a:gd name="connsiteX17" fmla="*/ 129106 w 332854"/>
              <a:gd name="connsiteY17" fmla="*/ 288924 h 288924"/>
              <a:gd name="connsiteX18" fmla="*/ 77962 w 332854"/>
              <a:gd name="connsiteY18" fmla="*/ 288924 h 288924"/>
              <a:gd name="connsiteX19" fmla="*/ 26189 w 332854"/>
              <a:gd name="connsiteY19" fmla="*/ 199375 h 288924"/>
              <a:gd name="connsiteX20" fmla="*/ 236869 w 332854"/>
              <a:gd name="connsiteY20" fmla="*/ 0 h 288924"/>
              <a:gd name="connsiteX21" fmla="*/ 237811 w 332854"/>
              <a:gd name="connsiteY21" fmla="*/ 0 h 288924"/>
              <a:gd name="connsiteX22" fmla="*/ 244408 w 332854"/>
              <a:gd name="connsiteY22" fmla="*/ 0 h 288924"/>
              <a:gd name="connsiteX23" fmla="*/ 332854 w 332854"/>
              <a:gd name="connsiteY23" fmla="*/ 153506 h 288924"/>
              <a:gd name="connsiteX24" fmla="*/ 281595 w 332854"/>
              <a:gd name="connsiteY24" fmla="*/ 243093 h 288924"/>
              <a:gd name="connsiteX25" fmla="*/ 279082 w 332854"/>
              <a:gd name="connsiteY25" fmla="*/ 230008 h 288924"/>
              <a:gd name="connsiteX26" fmla="*/ 272047 w 332854"/>
              <a:gd name="connsiteY26" fmla="*/ 208366 h 288924"/>
              <a:gd name="connsiteX27" fmla="*/ 259483 w 332854"/>
              <a:gd name="connsiteY27" fmla="*/ 182194 h 288924"/>
              <a:gd name="connsiteX28" fmla="*/ 221290 w 332854"/>
              <a:gd name="connsiteY28" fmla="*/ 115759 h 288924"/>
              <a:gd name="connsiteX29" fmla="*/ 182595 w 332854"/>
              <a:gd name="connsiteY29" fmla="*/ 49323 h 288924"/>
              <a:gd name="connsiteX30" fmla="*/ 176565 w 332854"/>
              <a:gd name="connsiteY30" fmla="*/ 38754 h 288924"/>
              <a:gd name="connsiteX31" fmla="*/ 187620 w 332854"/>
              <a:gd name="connsiteY31" fmla="*/ 25668 h 288924"/>
              <a:gd name="connsiteX32" fmla="*/ 214758 w 332854"/>
              <a:gd name="connsiteY32" fmla="*/ 4530 h 288924"/>
              <a:gd name="connsiteX33" fmla="*/ 236869 w 332854"/>
              <a:gd name="connsiteY33" fmla="*/ 0 h 288924"/>
              <a:gd name="connsiteX34" fmla="*/ 88490 w 332854"/>
              <a:gd name="connsiteY34" fmla="*/ 0 h 288924"/>
              <a:gd name="connsiteX35" fmla="*/ 90100 w 332854"/>
              <a:gd name="connsiteY35" fmla="*/ 0 h 288924"/>
              <a:gd name="connsiteX36" fmla="*/ 101374 w 332854"/>
              <a:gd name="connsiteY36" fmla="*/ 0 h 288924"/>
              <a:gd name="connsiteX37" fmla="*/ 131973 w 332854"/>
              <a:gd name="connsiteY37" fmla="*/ 0 h 288924"/>
              <a:gd name="connsiteX38" fmla="*/ 157539 w 332854"/>
              <a:gd name="connsiteY38" fmla="*/ 0 h 288924"/>
              <a:gd name="connsiteX39" fmla="*/ 191560 w 332854"/>
              <a:gd name="connsiteY39" fmla="*/ 0 h 288924"/>
              <a:gd name="connsiteX40" fmla="*/ 181504 w 332854"/>
              <a:gd name="connsiteY40" fmla="*/ 9059 h 288924"/>
              <a:gd name="connsiteX41" fmla="*/ 166421 w 332854"/>
              <a:gd name="connsiteY41" fmla="*/ 25666 h 288924"/>
              <a:gd name="connsiteX42" fmla="*/ 150332 w 332854"/>
              <a:gd name="connsiteY42" fmla="*/ 49319 h 288924"/>
              <a:gd name="connsiteX43" fmla="*/ 111617 w 332854"/>
              <a:gd name="connsiteY43" fmla="*/ 115748 h 288924"/>
              <a:gd name="connsiteX44" fmla="*/ 72903 w 332854"/>
              <a:gd name="connsiteY44" fmla="*/ 182178 h 288924"/>
              <a:gd name="connsiteX45" fmla="*/ 67373 w 332854"/>
              <a:gd name="connsiteY45" fmla="*/ 193250 h 288924"/>
              <a:gd name="connsiteX46" fmla="*/ 50278 w 332854"/>
              <a:gd name="connsiteY46" fmla="*/ 189727 h 288924"/>
              <a:gd name="connsiteX47" fmla="*/ 18603 w 332854"/>
              <a:gd name="connsiteY47" fmla="*/ 176643 h 288924"/>
              <a:gd name="connsiteX48" fmla="*/ 3520 w 332854"/>
              <a:gd name="connsiteY48" fmla="*/ 160035 h 288924"/>
              <a:gd name="connsiteX49" fmla="*/ 0 w 332854"/>
              <a:gd name="connsiteY49" fmla="*/ 153493 h 288924"/>
              <a:gd name="connsiteX50" fmla="*/ 2514 w 332854"/>
              <a:gd name="connsiteY50" fmla="*/ 148963 h 288924"/>
              <a:gd name="connsiteX51" fmla="*/ 88490 w 332854"/>
              <a:gd name="connsiteY51" fmla="*/ 0 h 2889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</a:cxnLst>
            <a:rect l="l" t="t" r="r" b="b"/>
            <a:pathLst>
              <a:path w="332854" h="288924">
                <a:moveTo>
                  <a:pt x="26189" y="199375"/>
                </a:moveTo>
                <a:cubicBezTo>
                  <a:pt x="29708" y="200884"/>
                  <a:pt x="34232" y="202394"/>
                  <a:pt x="38755" y="203399"/>
                </a:cubicBezTo>
                <a:cubicBezTo>
                  <a:pt x="44787" y="204909"/>
                  <a:pt x="57354" y="207927"/>
                  <a:pt x="60872" y="208430"/>
                </a:cubicBezTo>
                <a:cubicBezTo>
                  <a:pt x="72433" y="210442"/>
                  <a:pt x="82989" y="210442"/>
                  <a:pt x="89523" y="210442"/>
                </a:cubicBezTo>
                <a:cubicBezTo>
                  <a:pt x="89523" y="210442"/>
                  <a:pt x="89523" y="210442"/>
                  <a:pt x="166428" y="210442"/>
                </a:cubicBezTo>
                <a:cubicBezTo>
                  <a:pt x="166428" y="210442"/>
                  <a:pt x="166428" y="210442"/>
                  <a:pt x="243335" y="210442"/>
                </a:cubicBezTo>
                <a:cubicBezTo>
                  <a:pt x="246350" y="210442"/>
                  <a:pt x="250371" y="210442"/>
                  <a:pt x="255398" y="210442"/>
                </a:cubicBezTo>
                <a:cubicBezTo>
                  <a:pt x="257408" y="216480"/>
                  <a:pt x="260927" y="226038"/>
                  <a:pt x="260927" y="226542"/>
                </a:cubicBezTo>
                <a:cubicBezTo>
                  <a:pt x="265451" y="238616"/>
                  <a:pt x="266959" y="250186"/>
                  <a:pt x="265953" y="260752"/>
                </a:cubicBezTo>
                <a:cubicBezTo>
                  <a:pt x="264446" y="270814"/>
                  <a:pt x="260927" y="277857"/>
                  <a:pt x="258916" y="282384"/>
                </a:cubicBezTo>
                <a:lnTo>
                  <a:pt x="254895" y="288924"/>
                </a:lnTo>
                <a:lnTo>
                  <a:pt x="253513" y="288924"/>
                </a:lnTo>
                <a:lnTo>
                  <a:pt x="243837" y="288924"/>
                </a:lnTo>
                <a:lnTo>
                  <a:pt x="217573" y="288924"/>
                </a:lnTo>
                <a:lnTo>
                  <a:pt x="166428" y="288924"/>
                </a:lnTo>
                <a:lnTo>
                  <a:pt x="165046" y="288924"/>
                </a:lnTo>
                <a:lnTo>
                  <a:pt x="155370" y="288924"/>
                </a:lnTo>
                <a:lnTo>
                  <a:pt x="129106" y="288924"/>
                </a:lnTo>
                <a:lnTo>
                  <a:pt x="77962" y="288924"/>
                </a:lnTo>
                <a:cubicBezTo>
                  <a:pt x="77962" y="288924"/>
                  <a:pt x="77962" y="288924"/>
                  <a:pt x="26189" y="199375"/>
                </a:cubicBezTo>
                <a:close/>
                <a:moveTo>
                  <a:pt x="236869" y="0"/>
                </a:moveTo>
                <a:lnTo>
                  <a:pt x="237811" y="0"/>
                </a:lnTo>
                <a:lnTo>
                  <a:pt x="244408" y="0"/>
                </a:lnTo>
                <a:cubicBezTo>
                  <a:pt x="244408" y="0"/>
                  <a:pt x="244408" y="0"/>
                  <a:pt x="332854" y="153506"/>
                </a:cubicBezTo>
                <a:cubicBezTo>
                  <a:pt x="332854" y="153506"/>
                  <a:pt x="332854" y="153506"/>
                  <a:pt x="281595" y="243093"/>
                </a:cubicBezTo>
                <a:cubicBezTo>
                  <a:pt x="280590" y="239066"/>
                  <a:pt x="280088" y="234536"/>
                  <a:pt x="279082" y="230008"/>
                </a:cubicBezTo>
                <a:cubicBezTo>
                  <a:pt x="277072" y="223968"/>
                  <a:pt x="273053" y="211385"/>
                  <a:pt x="272047" y="208366"/>
                </a:cubicBezTo>
                <a:cubicBezTo>
                  <a:pt x="268026" y="197293"/>
                  <a:pt x="262499" y="188234"/>
                  <a:pt x="259483" y="182194"/>
                </a:cubicBezTo>
                <a:cubicBezTo>
                  <a:pt x="246418" y="159546"/>
                  <a:pt x="221290" y="115759"/>
                  <a:pt x="221290" y="115759"/>
                </a:cubicBezTo>
                <a:cubicBezTo>
                  <a:pt x="221290" y="115759"/>
                  <a:pt x="195661" y="71972"/>
                  <a:pt x="182595" y="49323"/>
                </a:cubicBezTo>
                <a:cubicBezTo>
                  <a:pt x="181088" y="46304"/>
                  <a:pt x="179078" y="42780"/>
                  <a:pt x="176565" y="38754"/>
                </a:cubicBezTo>
                <a:cubicBezTo>
                  <a:pt x="180585" y="33722"/>
                  <a:pt x="187118" y="26675"/>
                  <a:pt x="187620" y="25668"/>
                </a:cubicBezTo>
                <a:cubicBezTo>
                  <a:pt x="195661" y="16105"/>
                  <a:pt x="205209" y="9060"/>
                  <a:pt x="214758" y="4530"/>
                </a:cubicBezTo>
                <a:cubicBezTo>
                  <a:pt x="223804" y="1007"/>
                  <a:pt x="231844" y="0"/>
                  <a:pt x="236869" y="0"/>
                </a:cubicBezTo>
                <a:close/>
                <a:moveTo>
                  <a:pt x="88490" y="0"/>
                </a:moveTo>
                <a:lnTo>
                  <a:pt x="90100" y="0"/>
                </a:lnTo>
                <a:lnTo>
                  <a:pt x="101374" y="0"/>
                </a:lnTo>
                <a:lnTo>
                  <a:pt x="131973" y="0"/>
                </a:lnTo>
                <a:lnTo>
                  <a:pt x="157539" y="0"/>
                </a:lnTo>
                <a:lnTo>
                  <a:pt x="191560" y="0"/>
                </a:lnTo>
                <a:cubicBezTo>
                  <a:pt x="188040" y="2517"/>
                  <a:pt x="185024" y="5535"/>
                  <a:pt x="181504" y="9059"/>
                </a:cubicBezTo>
                <a:cubicBezTo>
                  <a:pt x="176980" y="13084"/>
                  <a:pt x="168934" y="22646"/>
                  <a:pt x="166421" y="25666"/>
                </a:cubicBezTo>
                <a:cubicBezTo>
                  <a:pt x="158879" y="34725"/>
                  <a:pt x="153349" y="43280"/>
                  <a:pt x="150332" y="49319"/>
                </a:cubicBezTo>
                <a:cubicBezTo>
                  <a:pt x="136756" y="71965"/>
                  <a:pt x="111617" y="115748"/>
                  <a:pt x="111617" y="115748"/>
                </a:cubicBezTo>
                <a:cubicBezTo>
                  <a:pt x="111617" y="115748"/>
                  <a:pt x="86479" y="159532"/>
                  <a:pt x="72903" y="182178"/>
                </a:cubicBezTo>
                <a:cubicBezTo>
                  <a:pt x="71395" y="185198"/>
                  <a:pt x="69886" y="188721"/>
                  <a:pt x="67373" y="193250"/>
                </a:cubicBezTo>
                <a:cubicBezTo>
                  <a:pt x="60837" y="191740"/>
                  <a:pt x="51284" y="190230"/>
                  <a:pt x="50278" y="189727"/>
                </a:cubicBezTo>
                <a:cubicBezTo>
                  <a:pt x="37709" y="187715"/>
                  <a:pt x="27150" y="183185"/>
                  <a:pt x="18603" y="176643"/>
                </a:cubicBezTo>
                <a:cubicBezTo>
                  <a:pt x="10558" y="170604"/>
                  <a:pt x="6033" y="164062"/>
                  <a:pt x="3520" y="160035"/>
                </a:cubicBezTo>
                <a:cubicBezTo>
                  <a:pt x="3520" y="160035"/>
                  <a:pt x="3520" y="160035"/>
                  <a:pt x="0" y="153493"/>
                </a:cubicBezTo>
                <a:cubicBezTo>
                  <a:pt x="0" y="153493"/>
                  <a:pt x="0" y="153493"/>
                  <a:pt x="2514" y="148963"/>
                </a:cubicBezTo>
                <a:cubicBezTo>
                  <a:pt x="2514" y="148963"/>
                  <a:pt x="2514" y="148963"/>
                  <a:pt x="88490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r>
              <a:rPr lang="en-US" noProof="0"/>
              <a:t>Click icon to add SmartArt graphic</a:t>
            </a:r>
            <a:endParaRPr lang="de-DE" noProof="0" dirty="0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221DA9E7-F5BE-4A84-8E7B-D736D9ED9355}"/>
              </a:ext>
            </a:extLst>
          </p:cNvPr>
          <p:cNvSpPr>
            <a:spLocks noGrp="1"/>
          </p:cNvSpPr>
          <p:nvPr>
            <p:ph type="dt" sz="half" idx="16"/>
          </p:nvPr>
        </p:nvSpPr>
        <p:spPr bwMode="gray"/>
        <p:txBody>
          <a:bodyPr/>
          <a:lstStyle/>
          <a:p>
            <a:fld id="{8224E9D3-4CC9-4995-B631-E90B94975326}" type="datetime1">
              <a:rPr lang="de-DE" noProof="0" smtClean="0"/>
              <a:t>22.10.2023</a:t>
            </a:fld>
            <a:endParaRPr lang="de-DE" sz="800" noProof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2384B9A-4174-4D9D-9EF8-E59B4C951536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 bwMode="gray"/>
        <p:txBody>
          <a:bodyPr/>
          <a:lstStyle/>
          <a:p>
            <a:pPr algn="ctr"/>
            <a:r>
              <a:rPr lang="de-DE" noProof="0"/>
              <a:t>Commerzbank AG, Max Mustermann, GM-C Brand Management 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61FA5FD0-3E85-4292-A0CE-868AE0007228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 bwMode="gray"/>
        <p:txBody>
          <a:bodyPr/>
          <a:lstStyle/>
          <a:p>
            <a:fld id="{CAEFDB47-5D1C-45E7-8BD0-EF74349B00F7}" type="slidenum">
              <a:rPr lang="de-DE" noProof="0" smtClean="0"/>
              <a:pPr/>
              <a:t>‹#›</a:t>
            </a:fld>
            <a:endParaRPr lang="de-DE" b="1" noProof="0"/>
          </a:p>
        </p:txBody>
      </p:sp>
      <p:sp>
        <p:nvSpPr>
          <p:cNvPr id="11" name="Textplatzhalter 6">
            <a:extLst>
              <a:ext uri="{FF2B5EF4-FFF2-40B4-BE49-F238E27FC236}">
                <a16:creationId xmlns:a16="http://schemas.microsoft.com/office/drawing/2014/main" id="{F061FEFF-B2E2-4D83-907B-D9C5A33FCC4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336550" y="1412876"/>
            <a:ext cx="7631114" cy="3311524"/>
          </a:xfrm>
        </p:spPr>
        <p:txBody>
          <a:bodyPr rIns="0"/>
          <a:lstStyle>
            <a:lvl1pPr marL="0" indent="0">
              <a:lnSpc>
                <a:spcPct val="90000"/>
              </a:lnSpc>
              <a:spcBef>
                <a:spcPts val="1200"/>
              </a:spcBef>
              <a:spcAft>
                <a:spcPts val="1200"/>
              </a:spcAft>
              <a:buNone/>
              <a:defRPr sz="3200" b="1">
                <a:solidFill>
                  <a:schemeClr val="tx1"/>
                </a:solidFill>
              </a:defRPr>
            </a:lvl1pPr>
            <a:lvl2pPr marL="0" indent="0">
              <a:spcBef>
                <a:spcPts val="600"/>
              </a:spcBef>
              <a:spcAft>
                <a:spcPts val="0"/>
              </a:spcAft>
              <a:buClrTx/>
              <a:buNone/>
              <a:defRPr>
                <a:solidFill>
                  <a:schemeClr val="tx1"/>
                </a:solidFill>
              </a:defRPr>
            </a:lvl2pPr>
            <a:lvl3pPr marL="180000" indent="-180000">
              <a:buClr>
                <a:schemeClr val="accent2"/>
              </a:buCl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 marL="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</a:defRPr>
            </a:lvl5pPr>
            <a:lvl6pPr marL="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</a:defRPr>
            </a:lvl6pPr>
            <a:lvl7pPr marL="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</a:defRPr>
            </a:lvl7pPr>
            <a:lvl8pPr marL="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</a:defRPr>
            </a:lvl8pPr>
            <a:lvl9pPr marL="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de-DE" noProof="0" dirty="0"/>
          </a:p>
        </p:txBody>
      </p:sp>
      <p:sp>
        <p:nvSpPr>
          <p:cNvPr id="13" name="Titel 4">
            <a:extLst>
              <a:ext uri="{FF2B5EF4-FFF2-40B4-BE49-F238E27FC236}">
                <a16:creationId xmlns:a16="http://schemas.microsoft.com/office/drawing/2014/main" id="{BAC0196D-514D-46A6-A03F-5BB2BFFCCCED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336550" y="836613"/>
            <a:ext cx="5688013" cy="574675"/>
          </a:xfrm>
        </p:spPr>
        <p:txBody>
          <a:bodyPr tIns="144000" rIns="0"/>
          <a:lstStyle>
            <a:lvl1pPr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6880625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5D5636C-4A3B-4687-A32F-A23F073303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36550" y="3002629"/>
            <a:ext cx="7632165" cy="439200"/>
          </a:xfrm>
        </p:spPr>
        <p:txBody>
          <a:bodyPr tIns="0" rIns="0" anchor="b"/>
          <a:lstStyle>
            <a:lvl1pPr>
              <a:defRPr/>
            </a:lvl1pPr>
          </a:lstStyle>
          <a:p>
            <a:r>
              <a:rPr lang="de-DE"/>
              <a:t>Name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98DD7453-3D77-4899-8249-C2AE1A1878FC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DA1B9C29-CF6C-4BD9-B61E-F30BFF73AE57}" type="datetime1">
              <a:rPr lang="de-DE" noProof="0" smtClean="0"/>
              <a:t>22.10.2023</a:t>
            </a:fld>
            <a:endParaRPr lang="de-DE" sz="800" noProof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C34511B7-2BED-45DB-8C67-E37B5196F6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pPr algn="ctr"/>
            <a:r>
              <a:rPr lang="de-DE" noProof="0"/>
              <a:t>Commerzbank AG, Max Mustermann, GM-C Brand Management 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D4515AA9-6163-4AFF-9843-E18F50895A1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CAEFDB47-5D1C-45E7-8BD0-EF74349B00F7}" type="slidenum">
              <a:rPr lang="de-DE" noProof="0" smtClean="0"/>
              <a:pPr/>
              <a:t>‹#›</a:t>
            </a:fld>
            <a:endParaRPr lang="de-DE" b="0" noProof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EC9A3B9A-95AA-4913-969A-F19C557D1B40}"/>
              </a:ext>
            </a:extLst>
          </p:cNvPr>
          <p:cNvSpPr>
            <a:spLocks noGrp="1"/>
          </p:cNvSpPr>
          <p:nvPr userDrawn="1">
            <p:ph type="body" sz="quarter" idx="13"/>
          </p:nvPr>
        </p:nvSpPr>
        <p:spPr bwMode="gray">
          <a:xfrm>
            <a:off x="336550" y="4014391"/>
            <a:ext cx="7632165" cy="710009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>
                <a:solidFill>
                  <a:schemeClr val="tx1"/>
                </a:solidFill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>
                <a:solidFill>
                  <a:schemeClr val="tx1"/>
                </a:solidFill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>
                <a:solidFill>
                  <a:schemeClr val="tx1"/>
                </a:solidFill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>
                <a:solidFill>
                  <a:schemeClr val="tx1"/>
                </a:solidFill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>
                <a:solidFill>
                  <a:schemeClr val="tx1"/>
                </a:solidFill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8" name="Textplatzhalter 6">
            <a:extLst>
              <a:ext uri="{FF2B5EF4-FFF2-40B4-BE49-F238E27FC236}">
                <a16:creationId xmlns:a16="http://schemas.microsoft.com/office/drawing/2014/main" id="{FA533901-D860-4E7E-A5C4-5A4116A26262}"/>
              </a:ext>
            </a:extLst>
          </p:cNvPr>
          <p:cNvSpPr>
            <a:spLocks noGrp="1"/>
          </p:cNvSpPr>
          <p:nvPr userDrawn="1">
            <p:ph type="body" sz="quarter" idx="14"/>
          </p:nvPr>
        </p:nvSpPr>
        <p:spPr bwMode="gray">
          <a:xfrm>
            <a:off x="336550" y="4868863"/>
            <a:ext cx="7632165" cy="1289485"/>
          </a:xfrm>
        </p:spPr>
        <p:txBody>
          <a:bodyPr anchor="b"/>
          <a:lstStyle>
            <a:lvl1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1077913" algn="l"/>
              </a:tabLst>
              <a:defRPr sz="1800" b="0">
                <a:solidFill>
                  <a:schemeClr val="tx1"/>
                </a:solidFill>
              </a:defRPr>
            </a:lvl1pPr>
            <a:lvl2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1077913" algn="l"/>
              </a:tabLst>
              <a:defRPr sz="1800" b="0">
                <a:solidFill>
                  <a:schemeClr val="tx1"/>
                </a:solidFill>
              </a:defRPr>
            </a:lvl2pPr>
            <a:lvl3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1077913" algn="l"/>
              </a:tabLst>
              <a:defRPr sz="1800" b="0">
                <a:solidFill>
                  <a:schemeClr val="tx1"/>
                </a:solidFill>
              </a:defRPr>
            </a:lvl3pPr>
            <a:lvl4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1077913" algn="l"/>
              </a:tabLst>
              <a:defRPr sz="1800" b="0">
                <a:solidFill>
                  <a:schemeClr val="tx1"/>
                </a:solidFill>
              </a:defRPr>
            </a:lvl4pPr>
            <a:lvl5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1077913" algn="l"/>
              </a:tabLst>
              <a:defRPr sz="1800" b="0">
                <a:solidFill>
                  <a:schemeClr val="tx1"/>
                </a:solidFill>
              </a:defRPr>
            </a:lvl5pPr>
            <a:lvl6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1077913" algn="l"/>
              </a:tabLst>
              <a:defRPr sz="1800" b="0">
                <a:solidFill>
                  <a:schemeClr val="tx1"/>
                </a:solidFill>
              </a:defRPr>
            </a:lvl6pPr>
            <a:lvl7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1077913" algn="l"/>
              </a:tabLst>
              <a:defRPr sz="1800" b="0">
                <a:solidFill>
                  <a:schemeClr val="tx1"/>
                </a:solidFill>
              </a:defRPr>
            </a:lvl7pPr>
            <a:lvl8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1077913" algn="l"/>
              </a:tabLst>
              <a:defRPr sz="1800" b="0">
                <a:solidFill>
                  <a:schemeClr val="tx1"/>
                </a:solidFill>
              </a:defRPr>
            </a:lvl8pPr>
            <a:lvl9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1077913" algn="l"/>
              </a:tabLst>
              <a:defRPr sz="18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Textplatzhalter 6">
            <a:extLst>
              <a:ext uri="{FF2B5EF4-FFF2-40B4-BE49-F238E27FC236}">
                <a16:creationId xmlns:a16="http://schemas.microsoft.com/office/drawing/2014/main" id="{70B089D3-CF39-44CB-9B6F-CF35F004D8F6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 bwMode="gray">
          <a:xfrm>
            <a:off x="8113825" y="4020309"/>
            <a:ext cx="3742678" cy="848554"/>
          </a:xfrm>
        </p:spPr>
        <p:txBody>
          <a:bodyPr/>
          <a:lstStyle>
            <a:lvl1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533400" algn="l"/>
              </a:tabLst>
              <a:defRPr sz="1200" b="0">
                <a:solidFill>
                  <a:schemeClr val="tx1"/>
                </a:solidFill>
              </a:defRPr>
            </a:lvl1pPr>
            <a:lvl2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533400" algn="l"/>
              </a:tabLst>
              <a:defRPr sz="1200" b="0">
                <a:solidFill>
                  <a:schemeClr val="tx1"/>
                </a:solidFill>
              </a:defRPr>
            </a:lvl2pPr>
            <a:lvl3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533400" algn="l"/>
              </a:tabLst>
              <a:defRPr sz="1200" b="0">
                <a:solidFill>
                  <a:schemeClr val="tx1"/>
                </a:solidFill>
              </a:defRPr>
            </a:lvl3pPr>
            <a:lvl4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533400" algn="l"/>
              </a:tabLst>
              <a:defRPr sz="1200" b="0">
                <a:solidFill>
                  <a:schemeClr val="tx1"/>
                </a:solidFill>
              </a:defRPr>
            </a:lvl4pPr>
            <a:lvl5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533400" algn="l"/>
              </a:tabLst>
              <a:defRPr sz="1200" b="0">
                <a:solidFill>
                  <a:schemeClr val="tx1"/>
                </a:solidFill>
              </a:defRPr>
            </a:lvl5pPr>
            <a:lvl6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533400" algn="l"/>
              </a:tabLst>
              <a:defRPr sz="1200" b="0">
                <a:solidFill>
                  <a:schemeClr val="tx1"/>
                </a:solidFill>
              </a:defRPr>
            </a:lvl6pPr>
            <a:lvl7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533400" algn="l"/>
              </a:tabLst>
              <a:defRPr sz="1200" b="0">
                <a:solidFill>
                  <a:schemeClr val="tx1"/>
                </a:solidFill>
              </a:defRPr>
            </a:lvl7pPr>
            <a:lvl8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533400" algn="l"/>
              </a:tabLst>
              <a:defRPr sz="1200" b="0">
                <a:solidFill>
                  <a:schemeClr val="tx1"/>
                </a:solidFill>
              </a:defRPr>
            </a:lvl8pPr>
            <a:lvl9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533400" algn="l"/>
              </a:tabLst>
              <a:defRPr sz="12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652C86FB-A613-4E59-A8BA-FD8F2C23664A}"/>
              </a:ext>
            </a:extLst>
          </p:cNvPr>
          <p:cNvSpPr txBox="1">
            <a:spLocks/>
          </p:cNvSpPr>
          <p:nvPr userDrawn="1"/>
        </p:nvSpPr>
        <p:spPr bwMode="gray">
          <a:xfrm>
            <a:off x="9621639" y="2557114"/>
            <a:ext cx="1705719" cy="555427"/>
          </a:xfrm>
          <a:custGeom>
            <a:avLst/>
            <a:gdLst/>
            <a:ahLst/>
            <a:cxnLst/>
            <a:rect l="l" t="t" r="r" b="b"/>
            <a:pathLst>
              <a:path w="1705719" h="555427">
                <a:moveTo>
                  <a:pt x="1510457" y="421928"/>
                </a:moveTo>
                <a:cubicBezTo>
                  <a:pt x="1501329" y="421928"/>
                  <a:pt x="1493788" y="425252"/>
                  <a:pt x="1487835" y="431899"/>
                </a:cubicBezTo>
                <a:cubicBezTo>
                  <a:pt x="1481882" y="438547"/>
                  <a:pt x="1478955" y="447576"/>
                  <a:pt x="1479054" y="458986"/>
                </a:cubicBezTo>
                <a:lnTo>
                  <a:pt x="1541562" y="458986"/>
                </a:lnTo>
                <a:cubicBezTo>
                  <a:pt x="1541264" y="446881"/>
                  <a:pt x="1538139" y="437679"/>
                  <a:pt x="1532186" y="431378"/>
                </a:cubicBezTo>
                <a:cubicBezTo>
                  <a:pt x="1526233" y="425078"/>
                  <a:pt x="1518989" y="421928"/>
                  <a:pt x="1510457" y="421928"/>
                </a:cubicBezTo>
                <a:close/>
                <a:moveTo>
                  <a:pt x="1138982" y="421928"/>
                </a:moveTo>
                <a:cubicBezTo>
                  <a:pt x="1129853" y="421928"/>
                  <a:pt x="1122313" y="425252"/>
                  <a:pt x="1116360" y="431899"/>
                </a:cubicBezTo>
                <a:cubicBezTo>
                  <a:pt x="1110407" y="438547"/>
                  <a:pt x="1107480" y="447576"/>
                  <a:pt x="1107579" y="458986"/>
                </a:cubicBezTo>
                <a:lnTo>
                  <a:pt x="1170087" y="458986"/>
                </a:lnTo>
                <a:cubicBezTo>
                  <a:pt x="1169789" y="446881"/>
                  <a:pt x="1166664" y="437679"/>
                  <a:pt x="1160711" y="431378"/>
                </a:cubicBezTo>
                <a:cubicBezTo>
                  <a:pt x="1154757" y="425078"/>
                  <a:pt x="1147515" y="421928"/>
                  <a:pt x="1138982" y="421928"/>
                </a:cubicBezTo>
                <a:close/>
                <a:moveTo>
                  <a:pt x="557957" y="421928"/>
                </a:moveTo>
                <a:cubicBezTo>
                  <a:pt x="548829" y="421928"/>
                  <a:pt x="541288" y="425252"/>
                  <a:pt x="535335" y="431899"/>
                </a:cubicBezTo>
                <a:cubicBezTo>
                  <a:pt x="529382" y="438547"/>
                  <a:pt x="526455" y="447576"/>
                  <a:pt x="526554" y="458986"/>
                </a:cubicBezTo>
                <a:lnTo>
                  <a:pt x="589062" y="458986"/>
                </a:lnTo>
                <a:cubicBezTo>
                  <a:pt x="588764" y="446881"/>
                  <a:pt x="585639" y="437679"/>
                  <a:pt x="579686" y="431378"/>
                </a:cubicBezTo>
                <a:cubicBezTo>
                  <a:pt x="573733" y="425078"/>
                  <a:pt x="566489" y="421928"/>
                  <a:pt x="557957" y="421928"/>
                </a:cubicBezTo>
                <a:close/>
                <a:moveTo>
                  <a:pt x="1247626" y="393502"/>
                </a:moveTo>
                <a:lnTo>
                  <a:pt x="1289447" y="393502"/>
                </a:lnTo>
                <a:lnTo>
                  <a:pt x="1289447" y="551557"/>
                </a:lnTo>
                <a:lnTo>
                  <a:pt x="1247626" y="551557"/>
                </a:lnTo>
                <a:close/>
                <a:moveTo>
                  <a:pt x="1507927" y="389930"/>
                </a:moveTo>
                <a:cubicBezTo>
                  <a:pt x="1531441" y="389930"/>
                  <a:pt x="1549995" y="397694"/>
                  <a:pt x="1563589" y="413221"/>
                </a:cubicBezTo>
                <a:cubicBezTo>
                  <a:pt x="1577181" y="428749"/>
                  <a:pt x="1583680" y="452537"/>
                  <a:pt x="1583085" y="484585"/>
                </a:cubicBezTo>
                <a:lnTo>
                  <a:pt x="1478310" y="484585"/>
                </a:lnTo>
                <a:cubicBezTo>
                  <a:pt x="1478607" y="496987"/>
                  <a:pt x="1481981" y="506636"/>
                  <a:pt x="1488430" y="513532"/>
                </a:cubicBezTo>
                <a:cubicBezTo>
                  <a:pt x="1494879" y="520427"/>
                  <a:pt x="1502916" y="523875"/>
                  <a:pt x="1512540" y="523875"/>
                </a:cubicBezTo>
                <a:cubicBezTo>
                  <a:pt x="1519089" y="523875"/>
                  <a:pt x="1524595" y="522089"/>
                  <a:pt x="1529060" y="518517"/>
                </a:cubicBezTo>
                <a:cubicBezTo>
                  <a:pt x="1533525" y="514945"/>
                  <a:pt x="1536899" y="509191"/>
                  <a:pt x="1539181" y="501253"/>
                </a:cubicBezTo>
                <a:lnTo>
                  <a:pt x="1580853" y="508248"/>
                </a:lnTo>
                <a:cubicBezTo>
                  <a:pt x="1575495" y="523528"/>
                  <a:pt x="1567036" y="535161"/>
                  <a:pt x="1555477" y="543148"/>
                </a:cubicBezTo>
                <a:cubicBezTo>
                  <a:pt x="1543918" y="551136"/>
                  <a:pt x="1529457" y="555129"/>
                  <a:pt x="1512094" y="555129"/>
                </a:cubicBezTo>
                <a:cubicBezTo>
                  <a:pt x="1484610" y="555129"/>
                  <a:pt x="1464271" y="546150"/>
                  <a:pt x="1451074" y="528191"/>
                </a:cubicBezTo>
                <a:cubicBezTo>
                  <a:pt x="1440656" y="513804"/>
                  <a:pt x="1435447" y="495647"/>
                  <a:pt x="1435447" y="473720"/>
                </a:cubicBezTo>
                <a:cubicBezTo>
                  <a:pt x="1435447" y="447526"/>
                  <a:pt x="1442293" y="427013"/>
                  <a:pt x="1455986" y="412180"/>
                </a:cubicBezTo>
                <a:cubicBezTo>
                  <a:pt x="1469678" y="397346"/>
                  <a:pt x="1486991" y="389930"/>
                  <a:pt x="1507927" y="389930"/>
                </a:cubicBezTo>
                <a:close/>
                <a:moveTo>
                  <a:pt x="1136452" y="389930"/>
                </a:moveTo>
                <a:cubicBezTo>
                  <a:pt x="1159967" y="389930"/>
                  <a:pt x="1178520" y="397694"/>
                  <a:pt x="1192113" y="413221"/>
                </a:cubicBezTo>
                <a:cubicBezTo>
                  <a:pt x="1205706" y="428749"/>
                  <a:pt x="1212205" y="452537"/>
                  <a:pt x="1211610" y="484585"/>
                </a:cubicBezTo>
                <a:lnTo>
                  <a:pt x="1106835" y="484585"/>
                </a:lnTo>
                <a:cubicBezTo>
                  <a:pt x="1107133" y="496987"/>
                  <a:pt x="1110506" y="506636"/>
                  <a:pt x="1116955" y="513532"/>
                </a:cubicBezTo>
                <a:cubicBezTo>
                  <a:pt x="1123404" y="520427"/>
                  <a:pt x="1131441" y="523875"/>
                  <a:pt x="1141065" y="523875"/>
                </a:cubicBezTo>
                <a:cubicBezTo>
                  <a:pt x="1147614" y="523875"/>
                  <a:pt x="1153120" y="522089"/>
                  <a:pt x="1157585" y="518517"/>
                </a:cubicBezTo>
                <a:cubicBezTo>
                  <a:pt x="1162050" y="514945"/>
                  <a:pt x="1165423" y="509191"/>
                  <a:pt x="1167706" y="501253"/>
                </a:cubicBezTo>
                <a:lnTo>
                  <a:pt x="1209377" y="508248"/>
                </a:lnTo>
                <a:cubicBezTo>
                  <a:pt x="1204020" y="523528"/>
                  <a:pt x="1195561" y="535161"/>
                  <a:pt x="1184002" y="543148"/>
                </a:cubicBezTo>
                <a:cubicBezTo>
                  <a:pt x="1172443" y="551136"/>
                  <a:pt x="1157982" y="555129"/>
                  <a:pt x="1140619" y="555129"/>
                </a:cubicBezTo>
                <a:cubicBezTo>
                  <a:pt x="1113135" y="555129"/>
                  <a:pt x="1092795" y="546150"/>
                  <a:pt x="1079599" y="528191"/>
                </a:cubicBezTo>
                <a:cubicBezTo>
                  <a:pt x="1069181" y="513804"/>
                  <a:pt x="1063972" y="495647"/>
                  <a:pt x="1063972" y="473720"/>
                </a:cubicBezTo>
                <a:cubicBezTo>
                  <a:pt x="1063972" y="447526"/>
                  <a:pt x="1070819" y="427013"/>
                  <a:pt x="1084511" y="412180"/>
                </a:cubicBezTo>
                <a:cubicBezTo>
                  <a:pt x="1098203" y="397346"/>
                  <a:pt x="1115517" y="389930"/>
                  <a:pt x="1136452" y="389930"/>
                </a:cubicBezTo>
                <a:close/>
                <a:moveTo>
                  <a:pt x="739676" y="389930"/>
                </a:moveTo>
                <a:cubicBezTo>
                  <a:pt x="749201" y="389930"/>
                  <a:pt x="758379" y="392559"/>
                  <a:pt x="767209" y="397818"/>
                </a:cubicBezTo>
                <a:lnTo>
                  <a:pt x="754261" y="434281"/>
                </a:lnTo>
                <a:cubicBezTo>
                  <a:pt x="747216" y="429717"/>
                  <a:pt x="740668" y="427435"/>
                  <a:pt x="734616" y="427435"/>
                </a:cubicBezTo>
                <a:cubicBezTo>
                  <a:pt x="728762" y="427435"/>
                  <a:pt x="723801" y="429047"/>
                  <a:pt x="719733" y="432271"/>
                </a:cubicBezTo>
                <a:cubicBezTo>
                  <a:pt x="715665" y="435496"/>
                  <a:pt x="712465" y="441325"/>
                  <a:pt x="710133" y="449759"/>
                </a:cubicBezTo>
                <a:cubicBezTo>
                  <a:pt x="707802" y="458192"/>
                  <a:pt x="706636" y="475853"/>
                  <a:pt x="706636" y="502742"/>
                </a:cubicBezTo>
                <a:lnTo>
                  <a:pt x="706636" y="551557"/>
                </a:lnTo>
                <a:lnTo>
                  <a:pt x="664815" y="551557"/>
                </a:lnTo>
                <a:lnTo>
                  <a:pt x="664815" y="393502"/>
                </a:lnTo>
                <a:lnTo>
                  <a:pt x="703659" y="393502"/>
                </a:lnTo>
                <a:lnTo>
                  <a:pt x="703659" y="415975"/>
                </a:lnTo>
                <a:cubicBezTo>
                  <a:pt x="710307" y="405358"/>
                  <a:pt x="716285" y="398363"/>
                  <a:pt x="721593" y="394990"/>
                </a:cubicBezTo>
                <a:cubicBezTo>
                  <a:pt x="726901" y="391617"/>
                  <a:pt x="732929" y="389930"/>
                  <a:pt x="739676" y="389930"/>
                </a:cubicBezTo>
                <a:close/>
                <a:moveTo>
                  <a:pt x="555427" y="389930"/>
                </a:moveTo>
                <a:cubicBezTo>
                  <a:pt x="578941" y="389930"/>
                  <a:pt x="597495" y="397694"/>
                  <a:pt x="611088" y="413221"/>
                </a:cubicBezTo>
                <a:cubicBezTo>
                  <a:pt x="624681" y="428749"/>
                  <a:pt x="631180" y="452537"/>
                  <a:pt x="630585" y="484585"/>
                </a:cubicBezTo>
                <a:lnTo>
                  <a:pt x="525810" y="484585"/>
                </a:lnTo>
                <a:cubicBezTo>
                  <a:pt x="526107" y="496987"/>
                  <a:pt x="529481" y="506636"/>
                  <a:pt x="535930" y="513532"/>
                </a:cubicBezTo>
                <a:cubicBezTo>
                  <a:pt x="542379" y="520427"/>
                  <a:pt x="550416" y="523875"/>
                  <a:pt x="560040" y="523875"/>
                </a:cubicBezTo>
                <a:cubicBezTo>
                  <a:pt x="566589" y="523875"/>
                  <a:pt x="572095" y="522089"/>
                  <a:pt x="576560" y="518517"/>
                </a:cubicBezTo>
                <a:cubicBezTo>
                  <a:pt x="581025" y="514945"/>
                  <a:pt x="584399" y="509191"/>
                  <a:pt x="586681" y="501253"/>
                </a:cubicBezTo>
                <a:lnTo>
                  <a:pt x="628353" y="508248"/>
                </a:lnTo>
                <a:cubicBezTo>
                  <a:pt x="622995" y="523528"/>
                  <a:pt x="614536" y="535161"/>
                  <a:pt x="602977" y="543148"/>
                </a:cubicBezTo>
                <a:cubicBezTo>
                  <a:pt x="591418" y="551136"/>
                  <a:pt x="576957" y="555129"/>
                  <a:pt x="559594" y="555129"/>
                </a:cubicBezTo>
                <a:cubicBezTo>
                  <a:pt x="532110" y="555129"/>
                  <a:pt x="511770" y="546150"/>
                  <a:pt x="498574" y="528191"/>
                </a:cubicBezTo>
                <a:cubicBezTo>
                  <a:pt x="488156" y="513804"/>
                  <a:pt x="482947" y="495647"/>
                  <a:pt x="482947" y="473720"/>
                </a:cubicBezTo>
                <a:cubicBezTo>
                  <a:pt x="482947" y="447526"/>
                  <a:pt x="489793" y="427013"/>
                  <a:pt x="503486" y="412180"/>
                </a:cubicBezTo>
                <a:cubicBezTo>
                  <a:pt x="517178" y="397346"/>
                  <a:pt x="534491" y="389930"/>
                  <a:pt x="555427" y="389930"/>
                </a:cubicBezTo>
                <a:close/>
                <a:moveTo>
                  <a:pt x="444401" y="389930"/>
                </a:moveTo>
                <a:cubicBezTo>
                  <a:pt x="453926" y="389930"/>
                  <a:pt x="463104" y="392559"/>
                  <a:pt x="471934" y="397818"/>
                </a:cubicBezTo>
                <a:lnTo>
                  <a:pt x="458986" y="434281"/>
                </a:lnTo>
                <a:cubicBezTo>
                  <a:pt x="451941" y="429717"/>
                  <a:pt x="445393" y="427435"/>
                  <a:pt x="439341" y="427435"/>
                </a:cubicBezTo>
                <a:cubicBezTo>
                  <a:pt x="433487" y="427435"/>
                  <a:pt x="428526" y="429047"/>
                  <a:pt x="424458" y="432271"/>
                </a:cubicBezTo>
                <a:cubicBezTo>
                  <a:pt x="420390" y="435496"/>
                  <a:pt x="417190" y="441325"/>
                  <a:pt x="414859" y="449759"/>
                </a:cubicBezTo>
                <a:cubicBezTo>
                  <a:pt x="412527" y="458192"/>
                  <a:pt x="411361" y="475853"/>
                  <a:pt x="411361" y="502742"/>
                </a:cubicBezTo>
                <a:lnTo>
                  <a:pt x="411361" y="551557"/>
                </a:lnTo>
                <a:lnTo>
                  <a:pt x="369540" y="551557"/>
                </a:lnTo>
                <a:lnTo>
                  <a:pt x="369540" y="393502"/>
                </a:lnTo>
                <a:lnTo>
                  <a:pt x="408384" y="393502"/>
                </a:lnTo>
                <a:lnTo>
                  <a:pt x="408384" y="415975"/>
                </a:lnTo>
                <a:cubicBezTo>
                  <a:pt x="415032" y="405358"/>
                  <a:pt x="421010" y="398363"/>
                  <a:pt x="426318" y="394990"/>
                </a:cubicBezTo>
                <a:cubicBezTo>
                  <a:pt x="431626" y="391617"/>
                  <a:pt x="437654" y="389930"/>
                  <a:pt x="444401" y="389930"/>
                </a:cubicBezTo>
                <a:close/>
                <a:moveTo>
                  <a:pt x="1386781" y="337691"/>
                </a:moveTo>
                <a:lnTo>
                  <a:pt x="1386781" y="393502"/>
                </a:lnTo>
                <a:lnTo>
                  <a:pt x="1415356" y="393502"/>
                </a:lnTo>
                <a:lnTo>
                  <a:pt x="1415356" y="426839"/>
                </a:lnTo>
                <a:lnTo>
                  <a:pt x="1386781" y="426839"/>
                </a:lnTo>
                <a:lnTo>
                  <a:pt x="1386781" y="490538"/>
                </a:lnTo>
                <a:cubicBezTo>
                  <a:pt x="1386781" y="503436"/>
                  <a:pt x="1387053" y="510952"/>
                  <a:pt x="1387599" y="513085"/>
                </a:cubicBezTo>
                <a:cubicBezTo>
                  <a:pt x="1388145" y="515218"/>
                  <a:pt x="1389385" y="516980"/>
                  <a:pt x="1391320" y="518369"/>
                </a:cubicBezTo>
                <a:cubicBezTo>
                  <a:pt x="1393255" y="519758"/>
                  <a:pt x="1395611" y="520452"/>
                  <a:pt x="1398389" y="520452"/>
                </a:cubicBezTo>
                <a:cubicBezTo>
                  <a:pt x="1402259" y="520452"/>
                  <a:pt x="1407865" y="519113"/>
                  <a:pt x="1415207" y="516434"/>
                </a:cubicBezTo>
                <a:lnTo>
                  <a:pt x="1418779" y="548878"/>
                </a:lnTo>
                <a:cubicBezTo>
                  <a:pt x="1409055" y="553045"/>
                  <a:pt x="1398042" y="555129"/>
                  <a:pt x="1385739" y="555129"/>
                </a:cubicBezTo>
                <a:cubicBezTo>
                  <a:pt x="1378198" y="555129"/>
                  <a:pt x="1371402" y="553864"/>
                  <a:pt x="1365349" y="551334"/>
                </a:cubicBezTo>
                <a:cubicBezTo>
                  <a:pt x="1359297" y="548804"/>
                  <a:pt x="1354857" y="545530"/>
                  <a:pt x="1352029" y="541511"/>
                </a:cubicBezTo>
                <a:cubicBezTo>
                  <a:pt x="1349201" y="537493"/>
                  <a:pt x="1347242" y="532061"/>
                  <a:pt x="1346151" y="525215"/>
                </a:cubicBezTo>
                <a:cubicBezTo>
                  <a:pt x="1345257" y="520353"/>
                  <a:pt x="1344811" y="510530"/>
                  <a:pt x="1344811" y="495747"/>
                </a:cubicBezTo>
                <a:lnTo>
                  <a:pt x="1344811" y="426839"/>
                </a:lnTo>
                <a:lnTo>
                  <a:pt x="1325612" y="426839"/>
                </a:lnTo>
                <a:lnTo>
                  <a:pt x="1325612" y="393502"/>
                </a:lnTo>
                <a:lnTo>
                  <a:pt x="1344811" y="393502"/>
                </a:lnTo>
                <a:lnTo>
                  <a:pt x="1344811" y="362099"/>
                </a:lnTo>
                <a:close/>
                <a:moveTo>
                  <a:pt x="1247626" y="333375"/>
                </a:moveTo>
                <a:lnTo>
                  <a:pt x="1289447" y="333375"/>
                </a:lnTo>
                <a:lnTo>
                  <a:pt x="1289447" y="372070"/>
                </a:lnTo>
                <a:lnTo>
                  <a:pt x="1247626" y="372070"/>
                </a:lnTo>
                <a:close/>
                <a:moveTo>
                  <a:pt x="190202" y="333375"/>
                </a:moveTo>
                <a:lnTo>
                  <a:pt x="232023" y="333375"/>
                </a:lnTo>
                <a:lnTo>
                  <a:pt x="232023" y="413594"/>
                </a:lnTo>
                <a:cubicBezTo>
                  <a:pt x="245517" y="397818"/>
                  <a:pt x="261640" y="389930"/>
                  <a:pt x="280392" y="389930"/>
                </a:cubicBezTo>
                <a:cubicBezTo>
                  <a:pt x="290017" y="389930"/>
                  <a:pt x="298698" y="391716"/>
                  <a:pt x="306437" y="395288"/>
                </a:cubicBezTo>
                <a:cubicBezTo>
                  <a:pt x="314176" y="398860"/>
                  <a:pt x="320005" y="403424"/>
                  <a:pt x="323925" y="408980"/>
                </a:cubicBezTo>
                <a:cubicBezTo>
                  <a:pt x="327844" y="414536"/>
                  <a:pt x="330523" y="420688"/>
                  <a:pt x="331961" y="427435"/>
                </a:cubicBezTo>
                <a:cubicBezTo>
                  <a:pt x="333400" y="434181"/>
                  <a:pt x="334119" y="444649"/>
                  <a:pt x="334119" y="458837"/>
                </a:cubicBezTo>
                <a:lnTo>
                  <a:pt x="334119" y="551557"/>
                </a:lnTo>
                <a:lnTo>
                  <a:pt x="292299" y="551557"/>
                </a:lnTo>
                <a:lnTo>
                  <a:pt x="292299" y="468065"/>
                </a:lnTo>
                <a:cubicBezTo>
                  <a:pt x="292299" y="451495"/>
                  <a:pt x="291505" y="440978"/>
                  <a:pt x="289917" y="436513"/>
                </a:cubicBezTo>
                <a:cubicBezTo>
                  <a:pt x="288330" y="432048"/>
                  <a:pt x="285527" y="428501"/>
                  <a:pt x="281509" y="425872"/>
                </a:cubicBezTo>
                <a:cubicBezTo>
                  <a:pt x="277490" y="423242"/>
                  <a:pt x="272455" y="421928"/>
                  <a:pt x="266402" y="421928"/>
                </a:cubicBezTo>
                <a:cubicBezTo>
                  <a:pt x="259457" y="421928"/>
                  <a:pt x="253256" y="423615"/>
                  <a:pt x="247799" y="426988"/>
                </a:cubicBezTo>
                <a:cubicBezTo>
                  <a:pt x="242342" y="430362"/>
                  <a:pt x="238348" y="435446"/>
                  <a:pt x="235818" y="442243"/>
                </a:cubicBezTo>
                <a:cubicBezTo>
                  <a:pt x="233288" y="449039"/>
                  <a:pt x="232023" y="459085"/>
                  <a:pt x="232023" y="472381"/>
                </a:cubicBezTo>
                <a:lnTo>
                  <a:pt x="232023" y="551557"/>
                </a:lnTo>
                <a:lnTo>
                  <a:pt x="190202" y="551557"/>
                </a:lnTo>
                <a:close/>
                <a:moveTo>
                  <a:pt x="113109" y="333375"/>
                </a:moveTo>
                <a:lnTo>
                  <a:pt x="157163" y="333375"/>
                </a:lnTo>
                <a:lnTo>
                  <a:pt x="157163" y="551557"/>
                </a:lnTo>
                <a:lnTo>
                  <a:pt x="113109" y="551557"/>
                </a:lnTo>
                <a:close/>
                <a:moveTo>
                  <a:pt x="952798" y="329654"/>
                </a:moveTo>
                <a:cubicBezTo>
                  <a:pt x="980182" y="329654"/>
                  <a:pt x="1000795" y="335657"/>
                  <a:pt x="1014636" y="347663"/>
                </a:cubicBezTo>
                <a:cubicBezTo>
                  <a:pt x="1028477" y="359668"/>
                  <a:pt x="1035745" y="375692"/>
                  <a:pt x="1036439" y="395734"/>
                </a:cubicBezTo>
                <a:lnTo>
                  <a:pt x="992386" y="397669"/>
                </a:lnTo>
                <a:cubicBezTo>
                  <a:pt x="990501" y="386457"/>
                  <a:pt x="986458" y="378396"/>
                  <a:pt x="980257" y="373484"/>
                </a:cubicBezTo>
                <a:cubicBezTo>
                  <a:pt x="974055" y="368573"/>
                  <a:pt x="964754" y="366117"/>
                  <a:pt x="952351" y="366117"/>
                </a:cubicBezTo>
                <a:cubicBezTo>
                  <a:pt x="939552" y="366117"/>
                  <a:pt x="929531" y="368747"/>
                  <a:pt x="922288" y="374005"/>
                </a:cubicBezTo>
                <a:cubicBezTo>
                  <a:pt x="917625" y="377379"/>
                  <a:pt x="915293" y="381893"/>
                  <a:pt x="915293" y="387549"/>
                </a:cubicBezTo>
                <a:cubicBezTo>
                  <a:pt x="915293" y="392708"/>
                  <a:pt x="917476" y="397123"/>
                  <a:pt x="921841" y="400794"/>
                </a:cubicBezTo>
                <a:cubicBezTo>
                  <a:pt x="927398" y="405458"/>
                  <a:pt x="940891" y="410319"/>
                  <a:pt x="962323" y="415379"/>
                </a:cubicBezTo>
                <a:cubicBezTo>
                  <a:pt x="983754" y="420440"/>
                  <a:pt x="999604" y="425673"/>
                  <a:pt x="1009873" y="431081"/>
                </a:cubicBezTo>
                <a:cubicBezTo>
                  <a:pt x="1020143" y="436488"/>
                  <a:pt x="1028179" y="443880"/>
                  <a:pt x="1033983" y="453256"/>
                </a:cubicBezTo>
                <a:cubicBezTo>
                  <a:pt x="1039788" y="462632"/>
                  <a:pt x="1042690" y="474216"/>
                  <a:pt x="1042690" y="488008"/>
                </a:cubicBezTo>
                <a:cubicBezTo>
                  <a:pt x="1042690" y="500509"/>
                  <a:pt x="1039217" y="512217"/>
                  <a:pt x="1032272" y="523131"/>
                </a:cubicBezTo>
                <a:cubicBezTo>
                  <a:pt x="1025327" y="534045"/>
                  <a:pt x="1015504" y="542156"/>
                  <a:pt x="1002804" y="547464"/>
                </a:cubicBezTo>
                <a:cubicBezTo>
                  <a:pt x="990104" y="552773"/>
                  <a:pt x="974279" y="555427"/>
                  <a:pt x="955328" y="555427"/>
                </a:cubicBezTo>
                <a:cubicBezTo>
                  <a:pt x="927745" y="555427"/>
                  <a:pt x="906562" y="549052"/>
                  <a:pt x="891778" y="536302"/>
                </a:cubicBezTo>
                <a:cubicBezTo>
                  <a:pt x="876995" y="523553"/>
                  <a:pt x="868164" y="504974"/>
                  <a:pt x="865287" y="480566"/>
                </a:cubicBezTo>
                <a:lnTo>
                  <a:pt x="908149" y="476399"/>
                </a:lnTo>
                <a:cubicBezTo>
                  <a:pt x="910729" y="490786"/>
                  <a:pt x="915963" y="501353"/>
                  <a:pt x="923851" y="508099"/>
                </a:cubicBezTo>
                <a:cubicBezTo>
                  <a:pt x="931739" y="514846"/>
                  <a:pt x="942380" y="518220"/>
                  <a:pt x="955774" y="518220"/>
                </a:cubicBezTo>
                <a:cubicBezTo>
                  <a:pt x="969963" y="518220"/>
                  <a:pt x="980653" y="515218"/>
                  <a:pt x="987847" y="509216"/>
                </a:cubicBezTo>
                <a:cubicBezTo>
                  <a:pt x="995040" y="503213"/>
                  <a:pt x="998637" y="496193"/>
                  <a:pt x="998637" y="488156"/>
                </a:cubicBezTo>
                <a:cubicBezTo>
                  <a:pt x="998637" y="482997"/>
                  <a:pt x="997124" y="478607"/>
                  <a:pt x="994098" y="474985"/>
                </a:cubicBezTo>
                <a:cubicBezTo>
                  <a:pt x="991071" y="471364"/>
                  <a:pt x="985788" y="468213"/>
                  <a:pt x="978247" y="465535"/>
                </a:cubicBezTo>
                <a:cubicBezTo>
                  <a:pt x="973088" y="463749"/>
                  <a:pt x="961331" y="460574"/>
                  <a:pt x="942975" y="456010"/>
                </a:cubicBezTo>
                <a:cubicBezTo>
                  <a:pt x="919361" y="450156"/>
                  <a:pt x="902791" y="442962"/>
                  <a:pt x="893267" y="434429"/>
                </a:cubicBezTo>
                <a:cubicBezTo>
                  <a:pt x="879872" y="422424"/>
                  <a:pt x="873175" y="407789"/>
                  <a:pt x="873175" y="390525"/>
                </a:cubicBezTo>
                <a:cubicBezTo>
                  <a:pt x="873175" y="379413"/>
                  <a:pt x="876325" y="369019"/>
                  <a:pt x="882625" y="359346"/>
                </a:cubicBezTo>
                <a:cubicBezTo>
                  <a:pt x="888926" y="349672"/>
                  <a:pt x="898004" y="342305"/>
                  <a:pt x="909861" y="337245"/>
                </a:cubicBezTo>
                <a:cubicBezTo>
                  <a:pt x="921717" y="332185"/>
                  <a:pt x="936030" y="329654"/>
                  <a:pt x="952798" y="329654"/>
                </a:cubicBezTo>
                <a:close/>
                <a:moveTo>
                  <a:pt x="1477715" y="142280"/>
                </a:moveTo>
                <a:cubicBezTo>
                  <a:pt x="1472357" y="144066"/>
                  <a:pt x="1463873" y="146199"/>
                  <a:pt x="1452265" y="148679"/>
                </a:cubicBezTo>
                <a:cubicBezTo>
                  <a:pt x="1440656" y="151160"/>
                  <a:pt x="1433066" y="153591"/>
                  <a:pt x="1429494" y="155972"/>
                </a:cubicBezTo>
                <a:cubicBezTo>
                  <a:pt x="1424037" y="159842"/>
                  <a:pt x="1421309" y="164753"/>
                  <a:pt x="1421309" y="170706"/>
                </a:cubicBezTo>
                <a:cubicBezTo>
                  <a:pt x="1421309" y="176560"/>
                  <a:pt x="1423492" y="181620"/>
                  <a:pt x="1427857" y="185886"/>
                </a:cubicBezTo>
                <a:cubicBezTo>
                  <a:pt x="1432223" y="190153"/>
                  <a:pt x="1437779" y="192286"/>
                  <a:pt x="1444526" y="192286"/>
                </a:cubicBezTo>
                <a:cubicBezTo>
                  <a:pt x="1452067" y="192286"/>
                  <a:pt x="1459260" y="189806"/>
                  <a:pt x="1466106" y="184845"/>
                </a:cubicBezTo>
                <a:cubicBezTo>
                  <a:pt x="1471166" y="181074"/>
                  <a:pt x="1474490" y="176461"/>
                  <a:pt x="1476077" y="171004"/>
                </a:cubicBezTo>
                <a:cubicBezTo>
                  <a:pt x="1477169" y="167432"/>
                  <a:pt x="1477715" y="160635"/>
                  <a:pt x="1477715" y="150614"/>
                </a:cubicBezTo>
                <a:close/>
                <a:moveTo>
                  <a:pt x="858590" y="142280"/>
                </a:moveTo>
                <a:cubicBezTo>
                  <a:pt x="853232" y="144066"/>
                  <a:pt x="844749" y="146199"/>
                  <a:pt x="833140" y="148679"/>
                </a:cubicBezTo>
                <a:cubicBezTo>
                  <a:pt x="821531" y="151160"/>
                  <a:pt x="813941" y="153591"/>
                  <a:pt x="810369" y="155972"/>
                </a:cubicBezTo>
                <a:cubicBezTo>
                  <a:pt x="804912" y="159842"/>
                  <a:pt x="802184" y="164753"/>
                  <a:pt x="802184" y="170706"/>
                </a:cubicBezTo>
                <a:cubicBezTo>
                  <a:pt x="802184" y="176560"/>
                  <a:pt x="804366" y="181620"/>
                  <a:pt x="808732" y="185886"/>
                </a:cubicBezTo>
                <a:cubicBezTo>
                  <a:pt x="813098" y="190153"/>
                  <a:pt x="818654" y="192286"/>
                  <a:pt x="825401" y="192286"/>
                </a:cubicBezTo>
                <a:cubicBezTo>
                  <a:pt x="832941" y="192286"/>
                  <a:pt x="840135" y="189806"/>
                  <a:pt x="846981" y="184845"/>
                </a:cubicBezTo>
                <a:cubicBezTo>
                  <a:pt x="852041" y="181074"/>
                  <a:pt x="855365" y="176461"/>
                  <a:pt x="856953" y="171004"/>
                </a:cubicBezTo>
                <a:cubicBezTo>
                  <a:pt x="858044" y="167432"/>
                  <a:pt x="858590" y="160635"/>
                  <a:pt x="858590" y="150614"/>
                </a:cubicBezTo>
                <a:close/>
                <a:moveTo>
                  <a:pt x="606326" y="123081"/>
                </a:moveTo>
                <a:lnTo>
                  <a:pt x="606326" y="181422"/>
                </a:lnTo>
                <a:lnTo>
                  <a:pt x="647105" y="181422"/>
                </a:lnTo>
                <a:cubicBezTo>
                  <a:pt x="662980" y="181422"/>
                  <a:pt x="673051" y="180975"/>
                  <a:pt x="677317" y="180082"/>
                </a:cubicBezTo>
                <a:cubicBezTo>
                  <a:pt x="683865" y="178892"/>
                  <a:pt x="689198" y="175989"/>
                  <a:pt x="693316" y="171376"/>
                </a:cubicBezTo>
                <a:cubicBezTo>
                  <a:pt x="697433" y="166762"/>
                  <a:pt x="699492" y="160586"/>
                  <a:pt x="699492" y="152847"/>
                </a:cubicBezTo>
                <a:cubicBezTo>
                  <a:pt x="699492" y="146298"/>
                  <a:pt x="697905" y="140742"/>
                  <a:pt x="694730" y="136178"/>
                </a:cubicBezTo>
                <a:cubicBezTo>
                  <a:pt x="691555" y="131614"/>
                  <a:pt x="686966" y="128290"/>
                  <a:pt x="680963" y="126206"/>
                </a:cubicBezTo>
                <a:cubicBezTo>
                  <a:pt x="674960" y="124123"/>
                  <a:pt x="661938" y="123081"/>
                  <a:pt x="641896" y="123081"/>
                </a:cubicBezTo>
                <a:close/>
                <a:moveTo>
                  <a:pt x="376982" y="88553"/>
                </a:moveTo>
                <a:cubicBezTo>
                  <a:pt x="367854" y="88553"/>
                  <a:pt x="360313" y="91877"/>
                  <a:pt x="354360" y="98524"/>
                </a:cubicBezTo>
                <a:cubicBezTo>
                  <a:pt x="348407" y="105172"/>
                  <a:pt x="345480" y="114201"/>
                  <a:pt x="345579" y="125611"/>
                </a:cubicBezTo>
                <a:lnTo>
                  <a:pt x="408087" y="125611"/>
                </a:lnTo>
                <a:cubicBezTo>
                  <a:pt x="407789" y="113506"/>
                  <a:pt x="404664" y="104304"/>
                  <a:pt x="398711" y="98003"/>
                </a:cubicBezTo>
                <a:cubicBezTo>
                  <a:pt x="392758" y="91703"/>
                  <a:pt x="385515" y="88553"/>
                  <a:pt x="376982" y="88553"/>
                </a:cubicBezTo>
                <a:close/>
                <a:moveTo>
                  <a:pt x="218926" y="60127"/>
                </a:moveTo>
                <a:lnTo>
                  <a:pt x="260747" y="60127"/>
                </a:lnTo>
                <a:lnTo>
                  <a:pt x="260747" y="218182"/>
                </a:lnTo>
                <a:lnTo>
                  <a:pt x="218926" y="218182"/>
                </a:lnTo>
                <a:close/>
                <a:moveTo>
                  <a:pt x="1652587" y="56555"/>
                </a:moveTo>
                <a:cubicBezTo>
                  <a:pt x="1661815" y="56555"/>
                  <a:pt x="1670249" y="58217"/>
                  <a:pt x="1677889" y="61541"/>
                </a:cubicBezTo>
                <a:cubicBezTo>
                  <a:pt x="1685528" y="64864"/>
                  <a:pt x="1691308" y="69106"/>
                  <a:pt x="1695227" y="74265"/>
                </a:cubicBezTo>
                <a:cubicBezTo>
                  <a:pt x="1699146" y="79425"/>
                  <a:pt x="1701875" y="85279"/>
                  <a:pt x="1703413" y="91827"/>
                </a:cubicBezTo>
                <a:cubicBezTo>
                  <a:pt x="1704950" y="98376"/>
                  <a:pt x="1705719" y="107752"/>
                  <a:pt x="1705719" y="119956"/>
                </a:cubicBezTo>
                <a:lnTo>
                  <a:pt x="1705719" y="218182"/>
                </a:lnTo>
                <a:lnTo>
                  <a:pt x="1663899" y="218182"/>
                </a:lnTo>
                <a:lnTo>
                  <a:pt x="1663899" y="137517"/>
                </a:lnTo>
                <a:cubicBezTo>
                  <a:pt x="1663899" y="120452"/>
                  <a:pt x="1663005" y="109414"/>
                  <a:pt x="1661220" y="104403"/>
                </a:cubicBezTo>
                <a:cubicBezTo>
                  <a:pt x="1659434" y="99392"/>
                  <a:pt x="1656531" y="95498"/>
                  <a:pt x="1652513" y="92720"/>
                </a:cubicBezTo>
                <a:cubicBezTo>
                  <a:pt x="1648495" y="89942"/>
                  <a:pt x="1643658" y="88553"/>
                  <a:pt x="1638003" y="88553"/>
                </a:cubicBezTo>
                <a:cubicBezTo>
                  <a:pt x="1630759" y="88553"/>
                  <a:pt x="1624261" y="90537"/>
                  <a:pt x="1618506" y="94506"/>
                </a:cubicBezTo>
                <a:cubicBezTo>
                  <a:pt x="1612751" y="98475"/>
                  <a:pt x="1608807" y="103733"/>
                  <a:pt x="1606674" y="110282"/>
                </a:cubicBezTo>
                <a:cubicBezTo>
                  <a:pt x="1604541" y="116830"/>
                  <a:pt x="1603474" y="128935"/>
                  <a:pt x="1603474" y="146596"/>
                </a:cubicBezTo>
                <a:lnTo>
                  <a:pt x="1603474" y="218182"/>
                </a:lnTo>
                <a:lnTo>
                  <a:pt x="1561654" y="218182"/>
                </a:lnTo>
                <a:lnTo>
                  <a:pt x="1561654" y="60127"/>
                </a:lnTo>
                <a:lnTo>
                  <a:pt x="1600498" y="60127"/>
                </a:lnTo>
                <a:lnTo>
                  <a:pt x="1600498" y="83344"/>
                </a:lnTo>
                <a:cubicBezTo>
                  <a:pt x="1614289" y="65485"/>
                  <a:pt x="1631653" y="56555"/>
                  <a:pt x="1652587" y="56555"/>
                </a:cubicBezTo>
                <a:close/>
                <a:moveTo>
                  <a:pt x="1452265" y="56555"/>
                </a:moveTo>
                <a:cubicBezTo>
                  <a:pt x="1470918" y="56555"/>
                  <a:pt x="1484809" y="58762"/>
                  <a:pt x="1493937" y="63178"/>
                </a:cubicBezTo>
                <a:cubicBezTo>
                  <a:pt x="1503065" y="67593"/>
                  <a:pt x="1509489" y="73199"/>
                  <a:pt x="1513210" y="79995"/>
                </a:cubicBezTo>
                <a:cubicBezTo>
                  <a:pt x="1516931" y="86792"/>
                  <a:pt x="1518791" y="99269"/>
                  <a:pt x="1518791" y="117426"/>
                </a:cubicBezTo>
                <a:lnTo>
                  <a:pt x="1518345" y="166241"/>
                </a:lnTo>
                <a:cubicBezTo>
                  <a:pt x="1518345" y="180132"/>
                  <a:pt x="1519014" y="190376"/>
                  <a:pt x="1520354" y="196974"/>
                </a:cubicBezTo>
                <a:cubicBezTo>
                  <a:pt x="1521693" y="203572"/>
                  <a:pt x="1524199" y="210642"/>
                  <a:pt x="1527870" y="218182"/>
                </a:cubicBezTo>
                <a:lnTo>
                  <a:pt x="1486495" y="218182"/>
                </a:lnTo>
                <a:cubicBezTo>
                  <a:pt x="1485404" y="215404"/>
                  <a:pt x="1484065" y="211287"/>
                  <a:pt x="1482477" y="205829"/>
                </a:cubicBezTo>
                <a:cubicBezTo>
                  <a:pt x="1481783" y="203349"/>
                  <a:pt x="1481287" y="201712"/>
                  <a:pt x="1480989" y="200918"/>
                </a:cubicBezTo>
                <a:cubicBezTo>
                  <a:pt x="1473845" y="207863"/>
                  <a:pt x="1466205" y="213072"/>
                  <a:pt x="1458069" y="216545"/>
                </a:cubicBezTo>
                <a:cubicBezTo>
                  <a:pt x="1449933" y="220018"/>
                  <a:pt x="1441252" y="221754"/>
                  <a:pt x="1432024" y="221754"/>
                </a:cubicBezTo>
                <a:cubicBezTo>
                  <a:pt x="1415753" y="221754"/>
                  <a:pt x="1402928" y="217339"/>
                  <a:pt x="1393552" y="208508"/>
                </a:cubicBezTo>
                <a:cubicBezTo>
                  <a:pt x="1384176" y="199678"/>
                  <a:pt x="1379488" y="188516"/>
                  <a:pt x="1379488" y="175022"/>
                </a:cubicBezTo>
                <a:cubicBezTo>
                  <a:pt x="1379488" y="166092"/>
                  <a:pt x="1381621" y="158130"/>
                  <a:pt x="1385888" y="151135"/>
                </a:cubicBezTo>
                <a:cubicBezTo>
                  <a:pt x="1390154" y="144140"/>
                  <a:pt x="1396132" y="138782"/>
                  <a:pt x="1403821" y="135062"/>
                </a:cubicBezTo>
                <a:cubicBezTo>
                  <a:pt x="1411511" y="131341"/>
                  <a:pt x="1422599" y="128092"/>
                  <a:pt x="1437085" y="125313"/>
                </a:cubicBezTo>
                <a:cubicBezTo>
                  <a:pt x="1456631" y="121642"/>
                  <a:pt x="1470174" y="118219"/>
                  <a:pt x="1477715" y="115044"/>
                </a:cubicBezTo>
                <a:lnTo>
                  <a:pt x="1477715" y="110877"/>
                </a:lnTo>
                <a:cubicBezTo>
                  <a:pt x="1477715" y="102840"/>
                  <a:pt x="1475730" y="97111"/>
                  <a:pt x="1471761" y="93687"/>
                </a:cubicBezTo>
                <a:cubicBezTo>
                  <a:pt x="1467793" y="90264"/>
                  <a:pt x="1460302" y="88553"/>
                  <a:pt x="1449288" y="88553"/>
                </a:cubicBezTo>
                <a:cubicBezTo>
                  <a:pt x="1441847" y="88553"/>
                  <a:pt x="1436043" y="90016"/>
                  <a:pt x="1431875" y="92943"/>
                </a:cubicBezTo>
                <a:cubicBezTo>
                  <a:pt x="1427708" y="95870"/>
                  <a:pt x="1424335" y="101005"/>
                  <a:pt x="1421755" y="108347"/>
                </a:cubicBezTo>
                <a:lnTo>
                  <a:pt x="1383804" y="101501"/>
                </a:lnTo>
                <a:cubicBezTo>
                  <a:pt x="1388071" y="86221"/>
                  <a:pt x="1395413" y="74910"/>
                  <a:pt x="1405831" y="67568"/>
                </a:cubicBezTo>
                <a:cubicBezTo>
                  <a:pt x="1416249" y="60226"/>
                  <a:pt x="1431727" y="56555"/>
                  <a:pt x="1452265" y="56555"/>
                </a:cubicBezTo>
                <a:close/>
                <a:moveTo>
                  <a:pt x="1033463" y="56555"/>
                </a:moveTo>
                <a:cubicBezTo>
                  <a:pt x="1042690" y="56555"/>
                  <a:pt x="1051123" y="58217"/>
                  <a:pt x="1058763" y="61541"/>
                </a:cubicBezTo>
                <a:cubicBezTo>
                  <a:pt x="1066403" y="64864"/>
                  <a:pt x="1072183" y="69106"/>
                  <a:pt x="1076102" y="74265"/>
                </a:cubicBezTo>
                <a:cubicBezTo>
                  <a:pt x="1080021" y="79425"/>
                  <a:pt x="1082749" y="85279"/>
                  <a:pt x="1084287" y="91827"/>
                </a:cubicBezTo>
                <a:cubicBezTo>
                  <a:pt x="1085825" y="98376"/>
                  <a:pt x="1086594" y="107752"/>
                  <a:pt x="1086594" y="119956"/>
                </a:cubicBezTo>
                <a:lnTo>
                  <a:pt x="1086594" y="218182"/>
                </a:lnTo>
                <a:lnTo>
                  <a:pt x="1044773" y="218182"/>
                </a:lnTo>
                <a:lnTo>
                  <a:pt x="1044773" y="137517"/>
                </a:lnTo>
                <a:cubicBezTo>
                  <a:pt x="1044773" y="120452"/>
                  <a:pt x="1043881" y="109414"/>
                  <a:pt x="1042095" y="104403"/>
                </a:cubicBezTo>
                <a:cubicBezTo>
                  <a:pt x="1040309" y="99392"/>
                  <a:pt x="1037407" y="95498"/>
                  <a:pt x="1033388" y="92720"/>
                </a:cubicBezTo>
                <a:cubicBezTo>
                  <a:pt x="1029370" y="89942"/>
                  <a:pt x="1024533" y="88553"/>
                  <a:pt x="1018877" y="88553"/>
                </a:cubicBezTo>
                <a:cubicBezTo>
                  <a:pt x="1011635" y="88553"/>
                  <a:pt x="1005135" y="90537"/>
                  <a:pt x="999381" y="94506"/>
                </a:cubicBezTo>
                <a:cubicBezTo>
                  <a:pt x="993626" y="98475"/>
                  <a:pt x="989682" y="103733"/>
                  <a:pt x="987549" y="110282"/>
                </a:cubicBezTo>
                <a:cubicBezTo>
                  <a:pt x="985416" y="116830"/>
                  <a:pt x="984349" y="128935"/>
                  <a:pt x="984349" y="146596"/>
                </a:cubicBezTo>
                <a:lnTo>
                  <a:pt x="984349" y="218182"/>
                </a:lnTo>
                <a:lnTo>
                  <a:pt x="942529" y="218182"/>
                </a:lnTo>
                <a:lnTo>
                  <a:pt x="942529" y="60127"/>
                </a:lnTo>
                <a:lnTo>
                  <a:pt x="981373" y="60127"/>
                </a:lnTo>
                <a:lnTo>
                  <a:pt x="981373" y="83344"/>
                </a:lnTo>
                <a:cubicBezTo>
                  <a:pt x="995164" y="65485"/>
                  <a:pt x="1012527" y="56555"/>
                  <a:pt x="1033463" y="56555"/>
                </a:cubicBezTo>
                <a:close/>
                <a:moveTo>
                  <a:pt x="833140" y="56555"/>
                </a:moveTo>
                <a:cubicBezTo>
                  <a:pt x="851793" y="56555"/>
                  <a:pt x="865684" y="58762"/>
                  <a:pt x="874812" y="63178"/>
                </a:cubicBezTo>
                <a:cubicBezTo>
                  <a:pt x="883940" y="67593"/>
                  <a:pt x="890364" y="73199"/>
                  <a:pt x="894085" y="79995"/>
                </a:cubicBezTo>
                <a:cubicBezTo>
                  <a:pt x="897806" y="86792"/>
                  <a:pt x="899666" y="99269"/>
                  <a:pt x="899666" y="117426"/>
                </a:cubicBezTo>
                <a:lnTo>
                  <a:pt x="899220" y="166241"/>
                </a:lnTo>
                <a:cubicBezTo>
                  <a:pt x="899220" y="180132"/>
                  <a:pt x="899889" y="190376"/>
                  <a:pt x="901229" y="196974"/>
                </a:cubicBezTo>
                <a:cubicBezTo>
                  <a:pt x="902568" y="203572"/>
                  <a:pt x="905073" y="210642"/>
                  <a:pt x="908745" y="218182"/>
                </a:cubicBezTo>
                <a:lnTo>
                  <a:pt x="867370" y="218182"/>
                </a:lnTo>
                <a:cubicBezTo>
                  <a:pt x="866279" y="215404"/>
                  <a:pt x="864939" y="211287"/>
                  <a:pt x="863352" y="205829"/>
                </a:cubicBezTo>
                <a:cubicBezTo>
                  <a:pt x="862657" y="203349"/>
                  <a:pt x="862161" y="201712"/>
                  <a:pt x="861864" y="200918"/>
                </a:cubicBezTo>
                <a:cubicBezTo>
                  <a:pt x="854720" y="207863"/>
                  <a:pt x="847080" y="213072"/>
                  <a:pt x="838944" y="216545"/>
                </a:cubicBezTo>
                <a:cubicBezTo>
                  <a:pt x="830808" y="220018"/>
                  <a:pt x="822127" y="221754"/>
                  <a:pt x="812899" y="221754"/>
                </a:cubicBezTo>
                <a:cubicBezTo>
                  <a:pt x="796627" y="221754"/>
                  <a:pt x="783803" y="217339"/>
                  <a:pt x="774427" y="208508"/>
                </a:cubicBezTo>
                <a:cubicBezTo>
                  <a:pt x="765051" y="199678"/>
                  <a:pt x="760363" y="188516"/>
                  <a:pt x="760363" y="175022"/>
                </a:cubicBezTo>
                <a:cubicBezTo>
                  <a:pt x="760363" y="166092"/>
                  <a:pt x="762496" y="158130"/>
                  <a:pt x="766763" y="151135"/>
                </a:cubicBezTo>
                <a:cubicBezTo>
                  <a:pt x="771029" y="144140"/>
                  <a:pt x="777007" y="138782"/>
                  <a:pt x="784696" y="135062"/>
                </a:cubicBezTo>
                <a:cubicBezTo>
                  <a:pt x="792386" y="131341"/>
                  <a:pt x="803473" y="128092"/>
                  <a:pt x="817959" y="125313"/>
                </a:cubicBezTo>
                <a:cubicBezTo>
                  <a:pt x="837506" y="121642"/>
                  <a:pt x="851049" y="118219"/>
                  <a:pt x="858590" y="115044"/>
                </a:cubicBezTo>
                <a:lnTo>
                  <a:pt x="858590" y="110877"/>
                </a:lnTo>
                <a:cubicBezTo>
                  <a:pt x="858590" y="102840"/>
                  <a:pt x="856605" y="97111"/>
                  <a:pt x="852637" y="93687"/>
                </a:cubicBezTo>
                <a:cubicBezTo>
                  <a:pt x="848668" y="90264"/>
                  <a:pt x="841177" y="88553"/>
                  <a:pt x="830163" y="88553"/>
                </a:cubicBezTo>
                <a:cubicBezTo>
                  <a:pt x="822722" y="88553"/>
                  <a:pt x="816918" y="90016"/>
                  <a:pt x="812751" y="92943"/>
                </a:cubicBezTo>
                <a:cubicBezTo>
                  <a:pt x="808583" y="95870"/>
                  <a:pt x="805210" y="101005"/>
                  <a:pt x="802630" y="108347"/>
                </a:cubicBezTo>
                <a:lnTo>
                  <a:pt x="764679" y="101501"/>
                </a:lnTo>
                <a:cubicBezTo>
                  <a:pt x="768945" y="86221"/>
                  <a:pt x="776288" y="74910"/>
                  <a:pt x="786706" y="67568"/>
                </a:cubicBezTo>
                <a:cubicBezTo>
                  <a:pt x="797123" y="60226"/>
                  <a:pt x="812602" y="56555"/>
                  <a:pt x="833140" y="56555"/>
                </a:cubicBezTo>
                <a:close/>
                <a:moveTo>
                  <a:pt x="374452" y="56555"/>
                </a:moveTo>
                <a:cubicBezTo>
                  <a:pt x="397966" y="56555"/>
                  <a:pt x="416520" y="64319"/>
                  <a:pt x="430113" y="79846"/>
                </a:cubicBezTo>
                <a:cubicBezTo>
                  <a:pt x="443706" y="95374"/>
                  <a:pt x="450205" y="119162"/>
                  <a:pt x="449610" y="151210"/>
                </a:cubicBezTo>
                <a:lnTo>
                  <a:pt x="344835" y="151210"/>
                </a:lnTo>
                <a:cubicBezTo>
                  <a:pt x="345133" y="163612"/>
                  <a:pt x="348506" y="173261"/>
                  <a:pt x="354955" y="180157"/>
                </a:cubicBezTo>
                <a:cubicBezTo>
                  <a:pt x="361404" y="187052"/>
                  <a:pt x="369441" y="190500"/>
                  <a:pt x="379065" y="190500"/>
                </a:cubicBezTo>
                <a:cubicBezTo>
                  <a:pt x="385614" y="190500"/>
                  <a:pt x="391120" y="188714"/>
                  <a:pt x="395585" y="185142"/>
                </a:cubicBezTo>
                <a:cubicBezTo>
                  <a:pt x="400050" y="181570"/>
                  <a:pt x="403423" y="175816"/>
                  <a:pt x="405706" y="167878"/>
                </a:cubicBezTo>
                <a:lnTo>
                  <a:pt x="447377" y="174873"/>
                </a:lnTo>
                <a:cubicBezTo>
                  <a:pt x="442020" y="190153"/>
                  <a:pt x="433561" y="201786"/>
                  <a:pt x="422002" y="209773"/>
                </a:cubicBezTo>
                <a:cubicBezTo>
                  <a:pt x="410443" y="217761"/>
                  <a:pt x="395982" y="221754"/>
                  <a:pt x="378619" y="221754"/>
                </a:cubicBezTo>
                <a:cubicBezTo>
                  <a:pt x="351135" y="221754"/>
                  <a:pt x="330795" y="212775"/>
                  <a:pt x="317599" y="194816"/>
                </a:cubicBezTo>
                <a:cubicBezTo>
                  <a:pt x="307181" y="180429"/>
                  <a:pt x="301972" y="162272"/>
                  <a:pt x="301972" y="140345"/>
                </a:cubicBezTo>
                <a:cubicBezTo>
                  <a:pt x="301972" y="114151"/>
                  <a:pt x="308818" y="93638"/>
                  <a:pt x="322511" y="78805"/>
                </a:cubicBezTo>
                <a:cubicBezTo>
                  <a:pt x="336203" y="63971"/>
                  <a:pt x="353517" y="56555"/>
                  <a:pt x="374452" y="56555"/>
                </a:cubicBezTo>
                <a:close/>
                <a:moveTo>
                  <a:pt x="44053" y="36910"/>
                </a:moveTo>
                <a:lnTo>
                  <a:pt x="44053" y="181422"/>
                </a:lnTo>
                <a:lnTo>
                  <a:pt x="76944" y="181422"/>
                </a:lnTo>
                <a:cubicBezTo>
                  <a:pt x="89247" y="181422"/>
                  <a:pt x="98127" y="180727"/>
                  <a:pt x="103585" y="179338"/>
                </a:cubicBezTo>
                <a:cubicBezTo>
                  <a:pt x="110728" y="177552"/>
                  <a:pt x="116657" y="174526"/>
                  <a:pt x="121369" y="170260"/>
                </a:cubicBezTo>
                <a:cubicBezTo>
                  <a:pt x="126082" y="165993"/>
                  <a:pt x="129927" y="158973"/>
                  <a:pt x="132904" y="149200"/>
                </a:cubicBezTo>
                <a:cubicBezTo>
                  <a:pt x="135880" y="139427"/>
                  <a:pt x="137369" y="126107"/>
                  <a:pt x="137369" y="109240"/>
                </a:cubicBezTo>
                <a:cubicBezTo>
                  <a:pt x="137369" y="92373"/>
                  <a:pt x="135880" y="79425"/>
                  <a:pt x="132904" y="70396"/>
                </a:cubicBezTo>
                <a:cubicBezTo>
                  <a:pt x="129927" y="61367"/>
                  <a:pt x="125760" y="54322"/>
                  <a:pt x="120402" y="49262"/>
                </a:cubicBezTo>
                <a:cubicBezTo>
                  <a:pt x="115044" y="44202"/>
                  <a:pt x="108248" y="40779"/>
                  <a:pt x="100013" y="38993"/>
                </a:cubicBezTo>
                <a:cubicBezTo>
                  <a:pt x="93861" y="37604"/>
                  <a:pt x="81806" y="36910"/>
                  <a:pt x="63847" y="36910"/>
                </a:cubicBezTo>
                <a:close/>
                <a:moveTo>
                  <a:pt x="606326" y="36314"/>
                </a:moveTo>
                <a:lnTo>
                  <a:pt x="606326" y="86767"/>
                </a:lnTo>
                <a:lnTo>
                  <a:pt x="635199" y="86767"/>
                </a:lnTo>
                <a:cubicBezTo>
                  <a:pt x="652363" y="86767"/>
                  <a:pt x="663029" y="86519"/>
                  <a:pt x="667197" y="86023"/>
                </a:cubicBezTo>
                <a:cubicBezTo>
                  <a:pt x="674737" y="85130"/>
                  <a:pt x="680665" y="82525"/>
                  <a:pt x="684981" y="78209"/>
                </a:cubicBezTo>
                <a:cubicBezTo>
                  <a:pt x="689298" y="73893"/>
                  <a:pt x="691456" y="68213"/>
                  <a:pt x="691456" y="61169"/>
                </a:cubicBezTo>
                <a:cubicBezTo>
                  <a:pt x="691456" y="54422"/>
                  <a:pt x="689595" y="48940"/>
                  <a:pt x="685875" y="44723"/>
                </a:cubicBezTo>
                <a:cubicBezTo>
                  <a:pt x="682154" y="40506"/>
                  <a:pt x="676622" y="37951"/>
                  <a:pt x="669280" y="37058"/>
                </a:cubicBezTo>
                <a:cubicBezTo>
                  <a:pt x="664915" y="36562"/>
                  <a:pt x="652363" y="36314"/>
                  <a:pt x="631627" y="36314"/>
                </a:cubicBezTo>
                <a:close/>
                <a:moveTo>
                  <a:pt x="1122313" y="0"/>
                </a:moveTo>
                <a:lnTo>
                  <a:pt x="1164134" y="0"/>
                </a:lnTo>
                <a:lnTo>
                  <a:pt x="1164134" y="115788"/>
                </a:lnTo>
                <a:lnTo>
                  <a:pt x="1213098" y="60127"/>
                </a:lnTo>
                <a:lnTo>
                  <a:pt x="1264593" y="60127"/>
                </a:lnTo>
                <a:lnTo>
                  <a:pt x="1210568" y="117872"/>
                </a:lnTo>
                <a:lnTo>
                  <a:pt x="1268462" y="218182"/>
                </a:lnTo>
                <a:lnTo>
                  <a:pt x="1223367" y="218182"/>
                </a:lnTo>
                <a:lnTo>
                  <a:pt x="1183630" y="147191"/>
                </a:lnTo>
                <a:lnTo>
                  <a:pt x="1164134" y="167581"/>
                </a:lnTo>
                <a:lnTo>
                  <a:pt x="1164134" y="218182"/>
                </a:lnTo>
                <a:lnTo>
                  <a:pt x="1122313" y="218182"/>
                </a:lnTo>
                <a:close/>
                <a:moveTo>
                  <a:pt x="562273" y="0"/>
                </a:moveTo>
                <a:lnTo>
                  <a:pt x="649486" y="0"/>
                </a:lnTo>
                <a:cubicBezTo>
                  <a:pt x="666750" y="0"/>
                  <a:pt x="679624" y="720"/>
                  <a:pt x="688107" y="2158"/>
                </a:cubicBezTo>
                <a:cubicBezTo>
                  <a:pt x="696590" y="3597"/>
                  <a:pt x="704180" y="6598"/>
                  <a:pt x="710878" y="11162"/>
                </a:cubicBezTo>
                <a:cubicBezTo>
                  <a:pt x="717575" y="15726"/>
                  <a:pt x="723156" y="21803"/>
                  <a:pt x="727621" y="29394"/>
                </a:cubicBezTo>
                <a:cubicBezTo>
                  <a:pt x="732086" y="36984"/>
                  <a:pt x="734318" y="45492"/>
                  <a:pt x="734318" y="54918"/>
                </a:cubicBezTo>
                <a:cubicBezTo>
                  <a:pt x="734318" y="65137"/>
                  <a:pt x="731565" y="74513"/>
                  <a:pt x="726058" y="83046"/>
                </a:cubicBezTo>
                <a:cubicBezTo>
                  <a:pt x="720551" y="91579"/>
                  <a:pt x="713085" y="97979"/>
                  <a:pt x="703659" y="102245"/>
                </a:cubicBezTo>
                <a:cubicBezTo>
                  <a:pt x="716955" y="106115"/>
                  <a:pt x="727174" y="112713"/>
                  <a:pt x="734318" y="122039"/>
                </a:cubicBezTo>
                <a:cubicBezTo>
                  <a:pt x="741462" y="131366"/>
                  <a:pt x="745034" y="142329"/>
                  <a:pt x="745034" y="154930"/>
                </a:cubicBezTo>
                <a:cubicBezTo>
                  <a:pt x="745034" y="164852"/>
                  <a:pt x="742727" y="174501"/>
                  <a:pt x="738113" y="183877"/>
                </a:cubicBezTo>
                <a:cubicBezTo>
                  <a:pt x="733499" y="193253"/>
                  <a:pt x="727199" y="200744"/>
                  <a:pt x="719212" y="206350"/>
                </a:cubicBezTo>
                <a:cubicBezTo>
                  <a:pt x="711225" y="211956"/>
                  <a:pt x="701377" y="215404"/>
                  <a:pt x="689670" y="216694"/>
                </a:cubicBezTo>
                <a:cubicBezTo>
                  <a:pt x="682327" y="217488"/>
                  <a:pt x="664617" y="217984"/>
                  <a:pt x="636538" y="218182"/>
                </a:cubicBezTo>
                <a:lnTo>
                  <a:pt x="562273" y="218182"/>
                </a:lnTo>
                <a:close/>
                <a:moveTo>
                  <a:pt x="218926" y="0"/>
                </a:moveTo>
                <a:lnTo>
                  <a:pt x="260747" y="0"/>
                </a:lnTo>
                <a:lnTo>
                  <a:pt x="260747" y="38695"/>
                </a:lnTo>
                <a:lnTo>
                  <a:pt x="218926" y="38695"/>
                </a:lnTo>
                <a:close/>
                <a:moveTo>
                  <a:pt x="0" y="0"/>
                </a:moveTo>
                <a:lnTo>
                  <a:pt x="80516" y="0"/>
                </a:lnTo>
                <a:cubicBezTo>
                  <a:pt x="98673" y="0"/>
                  <a:pt x="112514" y="1389"/>
                  <a:pt x="122039" y="4167"/>
                </a:cubicBezTo>
                <a:cubicBezTo>
                  <a:pt x="134838" y="7938"/>
                  <a:pt x="145802" y="14635"/>
                  <a:pt x="154930" y="24259"/>
                </a:cubicBezTo>
                <a:cubicBezTo>
                  <a:pt x="164058" y="33883"/>
                  <a:pt x="171004" y="45666"/>
                  <a:pt x="175766" y="59606"/>
                </a:cubicBezTo>
                <a:cubicBezTo>
                  <a:pt x="180529" y="73546"/>
                  <a:pt x="182910" y="90736"/>
                  <a:pt x="182910" y="111175"/>
                </a:cubicBezTo>
                <a:cubicBezTo>
                  <a:pt x="182910" y="129133"/>
                  <a:pt x="180677" y="144612"/>
                  <a:pt x="176213" y="157609"/>
                </a:cubicBezTo>
                <a:cubicBezTo>
                  <a:pt x="170755" y="173484"/>
                  <a:pt x="162967" y="186333"/>
                  <a:pt x="152847" y="196156"/>
                </a:cubicBezTo>
                <a:cubicBezTo>
                  <a:pt x="145207" y="203597"/>
                  <a:pt x="134888" y="209401"/>
                  <a:pt x="121890" y="213569"/>
                </a:cubicBezTo>
                <a:cubicBezTo>
                  <a:pt x="112167" y="216644"/>
                  <a:pt x="99169" y="218182"/>
                  <a:pt x="82897" y="218182"/>
                </a:cubicBezTo>
                <a:lnTo>
                  <a:pt x="0" y="21818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None/>
              <a:defRPr sz="24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ctr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None/>
              <a:defRPr sz="24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ctr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None/>
              <a:defRPr sz="24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indent="0" algn="ctr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24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indent="0" algn="ctr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24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0" indent="0" algn="ctr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24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0" indent="0" algn="ctr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24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0" indent="0" algn="ctr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24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0" indent="0" algn="ctr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24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/>
          </a:p>
        </p:txBody>
      </p:sp>
      <p:sp>
        <p:nvSpPr>
          <p:cNvPr id="22" name="Textplatzhalter 6">
            <a:extLst>
              <a:ext uri="{FF2B5EF4-FFF2-40B4-BE49-F238E27FC236}">
                <a16:creationId xmlns:a16="http://schemas.microsoft.com/office/drawing/2014/main" id="{8E073262-D595-42F0-9DF0-3D082AFDAA3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 bwMode="gray">
          <a:xfrm>
            <a:off x="8113825" y="4868863"/>
            <a:ext cx="3742678" cy="1289486"/>
          </a:xfrm>
        </p:spPr>
        <p:txBody>
          <a:bodyPr anchor="b"/>
          <a:lstStyle>
            <a:lvl1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533400" algn="l"/>
              </a:tabLst>
              <a:defRPr sz="1200" b="0">
                <a:solidFill>
                  <a:schemeClr val="tx1"/>
                </a:solidFill>
              </a:defRPr>
            </a:lvl1pPr>
            <a:lvl2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533400" algn="l"/>
              </a:tabLst>
              <a:defRPr sz="1200" b="0">
                <a:solidFill>
                  <a:schemeClr val="tx1"/>
                </a:solidFill>
              </a:defRPr>
            </a:lvl2pPr>
            <a:lvl3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533400" algn="l"/>
              </a:tabLst>
              <a:defRPr sz="1200" b="0">
                <a:solidFill>
                  <a:schemeClr val="tx1"/>
                </a:solidFill>
              </a:defRPr>
            </a:lvl3pPr>
            <a:lvl4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533400" algn="l"/>
              </a:tabLst>
              <a:defRPr sz="1200" b="0">
                <a:solidFill>
                  <a:schemeClr val="tx1"/>
                </a:solidFill>
              </a:defRPr>
            </a:lvl4pPr>
            <a:lvl5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533400" algn="l"/>
              </a:tabLst>
              <a:defRPr sz="1200" b="0">
                <a:solidFill>
                  <a:schemeClr val="tx1"/>
                </a:solidFill>
              </a:defRPr>
            </a:lvl5pPr>
            <a:lvl6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533400" algn="l"/>
              </a:tabLst>
              <a:defRPr sz="1200" b="0">
                <a:solidFill>
                  <a:schemeClr val="tx1"/>
                </a:solidFill>
              </a:defRPr>
            </a:lvl6pPr>
            <a:lvl7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533400" algn="l"/>
              </a:tabLst>
              <a:defRPr sz="1200" b="0">
                <a:solidFill>
                  <a:schemeClr val="tx1"/>
                </a:solidFill>
              </a:defRPr>
            </a:lvl7pPr>
            <a:lvl8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533400" algn="l"/>
              </a:tabLst>
              <a:defRPr sz="1200" b="0">
                <a:solidFill>
                  <a:schemeClr val="tx1"/>
                </a:solidFill>
              </a:defRPr>
            </a:lvl8pPr>
            <a:lvl9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533400" algn="l"/>
              </a:tabLst>
              <a:defRPr sz="12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2843910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 x Te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F388DE1-4495-4DD6-AE8F-CB81EF4B61BE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EFA8FABC-34B7-4C47-AF6B-7531796C8310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990DDD0E-6098-4572-9CDA-E77F9707CCC9}" type="datetime1">
              <a:rPr lang="de-DE" noProof="0" smtClean="0"/>
              <a:t>22.10.2023</a:t>
            </a:fld>
            <a:endParaRPr lang="de-DE" sz="800" noProof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35C42281-2D18-4ED8-A742-F46088366B6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pPr algn="ctr"/>
            <a:r>
              <a:rPr lang="de-DE" noProof="0"/>
              <a:t>Commerzbank AG, Max Mustermann, GM-C Brand Management 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EF63A14-DD68-4574-8C9B-28B6A68736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CAEFDB47-5D1C-45E7-8BD0-EF74349B00F7}" type="slidenum">
              <a:rPr lang="de-DE" noProof="0" smtClean="0"/>
              <a:pPr/>
              <a:t>‹#›</a:t>
            </a:fld>
            <a:endParaRPr lang="de-DE" b="0" noProof="0"/>
          </a:p>
        </p:txBody>
      </p:sp>
      <p:sp>
        <p:nvSpPr>
          <p:cNvPr id="6" name="Bildplatzhalter 8">
            <a:extLst>
              <a:ext uri="{FF2B5EF4-FFF2-40B4-BE49-F238E27FC236}">
                <a16:creationId xmlns:a16="http://schemas.microsoft.com/office/drawing/2014/main" id="{6DE0F201-347D-4763-BB5F-C93A1FE96D20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336550" y="1411288"/>
            <a:ext cx="2771775" cy="2449512"/>
          </a:xfrm>
          <a:noFill/>
        </p:spPr>
        <p:txBody>
          <a:bodyPr lIns="0" tIns="0" rIns="0" bIns="72000" anchor="b"/>
          <a:lstStyle>
            <a:lvl1pPr marL="0" indent="0" algn="ctr">
              <a:buNone/>
              <a:defRPr sz="800">
                <a:solidFill>
                  <a:schemeClr val="accent4"/>
                </a:solidFill>
              </a:defRPr>
            </a:lvl1pPr>
          </a:lstStyle>
          <a:p>
            <a:r>
              <a:rPr lang="de-DE" noProof="0"/>
              <a:t>Fügen Sie ein Bild über Klicken auf das Symbol ein. </a:t>
            </a:r>
            <a:br>
              <a:rPr lang="de-DE" noProof="0"/>
            </a:br>
            <a:br>
              <a:rPr lang="de-DE" noProof="0"/>
            </a:br>
            <a:r>
              <a:rPr lang="de-DE" noProof="0"/>
              <a:t>Alternativ kopieren Sie ein Bild in die Zwischenablage, </a:t>
            </a:r>
            <a:br>
              <a:rPr lang="de-DE" noProof="0"/>
            </a:br>
            <a:r>
              <a:rPr lang="de-DE" noProof="0"/>
              <a:t>wählen Sie den Platzhalter an und klicken Sie einfügen. </a:t>
            </a:r>
          </a:p>
        </p:txBody>
      </p:sp>
      <p:sp>
        <p:nvSpPr>
          <p:cNvPr id="17" name="Bildplatzhalter 8">
            <a:extLst>
              <a:ext uri="{FF2B5EF4-FFF2-40B4-BE49-F238E27FC236}">
                <a16:creationId xmlns:a16="http://schemas.microsoft.com/office/drawing/2014/main" id="{7028381E-328D-4918-99E6-4E5524C063CA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3250565" y="1411288"/>
            <a:ext cx="2771775" cy="2449512"/>
          </a:xfrm>
          <a:noFill/>
        </p:spPr>
        <p:txBody>
          <a:bodyPr lIns="0" tIns="0" rIns="0" bIns="72000" anchor="b"/>
          <a:lstStyle>
            <a:lvl1pPr marL="0" indent="0" algn="ctr">
              <a:buNone/>
              <a:defRPr sz="800">
                <a:solidFill>
                  <a:schemeClr val="accent4"/>
                </a:solidFill>
              </a:defRPr>
            </a:lvl1pPr>
          </a:lstStyle>
          <a:p>
            <a:r>
              <a:rPr lang="de-DE" noProof="0" dirty="0"/>
              <a:t>Fügen Sie ein Bild über Klicken auf das Symbol ein. </a:t>
            </a: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Alternativ kopieren Sie ein Bild in die Zwischenablage, </a:t>
            </a:r>
            <a:br>
              <a:rPr lang="de-DE" noProof="0" dirty="0"/>
            </a:br>
            <a:r>
              <a:rPr lang="de-DE" noProof="0" dirty="0"/>
              <a:t>wählen Sie den Platzhalter an und klicken Sie einfügen. </a:t>
            </a:r>
          </a:p>
        </p:txBody>
      </p:sp>
      <p:sp>
        <p:nvSpPr>
          <p:cNvPr id="18" name="Bildplatzhalter 8">
            <a:extLst>
              <a:ext uri="{FF2B5EF4-FFF2-40B4-BE49-F238E27FC236}">
                <a16:creationId xmlns:a16="http://schemas.microsoft.com/office/drawing/2014/main" id="{87851B64-3D55-4F9A-A78D-2B5D73336FDC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6169025" y="1411288"/>
            <a:ext cx="2771775" cy="2449512"/>
          </a:xfrm>
          <a:noFill/>
        </p:spPr>
        <p:txBody>
          <a:bodyPr lIns="0" tIns="0" rIns="0" bIns="72000" anchor="b"/>
          <a:lstStyle>
            <a:lvl1pPr marL="0" indent="0" algn="ctr">
              <a:buNone/>
              <a:defRPr sz="800">
                <a:solidFill>
                  <a:schemeClr val="accent4"/>
                </a:solidFill>
              </a:defRPr>
            </a:lvl1pPr>
          </a:lstStyle>
          <a:p>
            <a:r>
              <a:rPr lang="de-DE" noProof="0"/>
              <a:t>Fügen Sie ein Bild über Klicken auf das Symbol ein. </a:t>
            </a:r>
            <a:br>
              <a:rPr lang="de-DE" noProof="0"/>
            </a:br>
            <a:br>
              <a:rPr lang="de-DE" noProof="0"/>
            </a:br>
            <a:r>
              <a:rPr lang="de-DE" noProof="0"/>
              <a:t>Alternativ kopieren Sie ein Bild in die Zwischenablage, </a:t>
            </a:r>
            <a:br>
              <a:rPr lang="de-DE" noProof="0"/>
            </a:br>
            <a:r>
              <a:rPr lang="de-DE" noProof="0"/>
              <a:t>wählen Sie den Platzhalter an und klicken Sie einfügen. </a:t>
            </a:r>
          </a:p>
        </p:txBody>
      </p:sp>
      <p:sp>
        <p:nvSpPr>
          <p:cNvPr id="19" name="Bildplatzhalter 8">
            <a:extLst>
              <a:ext uri="{FF2B5EF4-FFF2-40B4-BE49-F238E27FC236}">
                <a16:creationId xmlns:a16="http://schemas.microsoft.com/office/drawing/2014/main" id="{BB4787BB-E7FE-4FF4-9440-F5B8CA651611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9087485" y="1411288"/>
            <a:ext cx="2771775" cy="2449512"/>
          </a:xfrm>
          <a:noFill/>
        </p:spPr>
        <p:txBody>
          <a:bodyPr lIns="0" tIns="0" rIns="0" bIns="72000" anchor="b"/>
          <a:lstStyle>
            <a:lvl1pPr marL="0" indent="0" algn="ctr">
              <a:buNone/>
              <a:defRPr sz="800">
                <a:solidFill>
                  <a:schemeClr val="accent4"/>
                </a:solidFill>
              </a:defRPr>
            </a:lvl1pPr>
          </a:lstStyle>
          <a:p>
            <a:r>
              <a:rPr lang="de-DE" noProof="0"/>
              <a:t>Fügen Sie ein Bild über Klicken auf das Symbol ein. </a:t>
            </a:r>
            <a:br>
              <a:rPr lang="de-DE" noProof="0"/>
            </a:br>
            <a:br>
              <a:rPr lang="de-DE" noProof="0"/>
            </a:br>
            <a:r>
              <a:rPr lang="de-DE" noProof="0"/>
              <a:t>Alternativ kopieren Sie ein Bild in die Zwischenablage, </a:t>
            </a:r>
            <a:br>
              <a:rPr lang="de-DE" noProof="0"/>
            </a:br>
            <a:r>
              <a:rPr lang="de-DE" noProof="0"/>
              <a:t>wählen Sie den Platzhalter an und klicken Sie einfügen. </a:t>
            </a:r>
          </a:p>
        </p:txBody>
      </p:sp>
      <p:sp>
        <p:nvSpPr>
          <p:cNvPr id="14" name="Textplatzhalter 14">
            <a:extLst>
              <a:ext uri="{FF2B5EF4-FFF2-40B4-BE49-F238E27FC236}">
                <a16:creationId xmlns:a16="http://schemas.microsoft.com/office/drawing/2014/main" id="{1FC0D689-21D1-4F05-B548-5623C985075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336550" y="4005263"/>
            <a:ext cx="2771775" cy="2447926"/>
          </a:xfrm>
        </p:spPr>
        <p:txBody>
          <a:bodyPr tIns="0" rIns="144000"/>
          <a:lstStyle>
            <a:lvl1pPr marL="0" indent="0">
              <a:lnSpc>
                <a:spcPct val="90000"/>
              </a:lnSpc>
              <a:spcAft>
                <a:spcPts val="600"/>
              </a:spcAft>
              <a:buNone/>
              <a:defRPr sz="1800" b="1"/>
            </a:lvl1pPr>
            <a:lvl2pPr marL="0" indent="0">
              <a:spcBef>
                <a:spcPts val="0"/>
              </a:spcBef>
              <a:spcAft>
                <a:spcPts val="600"/>
              </a:spcAft>
              <a:buNone/>
              <a:defRPr/>
            </a:lvl2pPr>
            <a:lvl3pPr marL="180000">
              <a:defRPr/>
            </a:lvl3pPr>
            <a:lvl4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4pPr>
            <a:lvl5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5pPr>
            <a:lvl6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6pPr>
            <a:lvl7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7pPr>
            <a:lvl8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8pPr>
            <a:lvl9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/>
              <a:t>Name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endParaRPr lang="de-DE" noProof="0"/>
          </a:p>
        </p:txBody>
      </p:sp>
      <p:sp>
        <p:nvSpPr>
          <p:cNvPr id="23" name="Textplatzhalter 14">
            <a:extLst>
              <a:ext uri="{FF2B5EF4-FFF2-40B4-BE49-F238E27FC236}">
                <a16:creationId xmlns:a16="http://schemas.microsoft.com/office/drawing/2014/main" id="{6A8E6CF0-88E6-4258-83B1-724B243BC18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3250565" y="4005263"/>
            <a:ext cx="2771775" cy="2447926"/>
          </a:xfrm>
        </p:spPr>
        <p:txBody>
          <a:bodyPr tIns="0" rIns="144000"/>
          <a:lstStyle>
            <a:lvl1pPr marL="0" indent="0">
              <a:lnSpc>
                <a:spcPct val="90000"/>
              </a:lnSpc>
              <a:spcAft>
                <a:spcPts val="600"/>
              </a:spcAft>
              <a:buNone/>
              <a:defRPr sz="1800" b="1"/>
            </a:lvl1pPr>
            <a:lvl2pPr marL="0" indent="0">
              <a:spcBef>
                <a:spcPts val="0"/>
              </a:spcBef>
              <a:spcAft>
                <a:spcPts val="600"/>
              </a:spcAft>
              <a:buNone/>
              <a:defRPr/>
            </a:lvl2pPr>
            <a:lvl3pPr marL="180000">
              <a:defRPr/>
            </a:lvl3pPr>
            <a:lvl4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4pPr>
            <a:lvl5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5pPr>
            <a:lvl6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6pPr>
            <a:lvl7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7pPr>
            <a:lvl8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8pPr>
            <a:lvl9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/>
              <a:t>Name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endParaRPr lang="de-DE" noProof="0"/>
          </a:p>
        </p:txBody>
      </p:sp>
      <p:sp>
        <p:nvSpPr>
          <p:cNvPr id="24" name="Textplatzhalter 14">
            <a:extLst>
              <a:ext uri="{FF2B5EF4-FFF2-40B4-BE49-F238E27FC236}">
                <a16:creationId xmlns:a16="http://schemas.microsoft.com/office/drawing/2014/main" id="{C73755DD-5FC0-4227-B564-A663EE50AE7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6169025" y="4005263"/>
            <a:ext cx="2771775" cy="2447926"/>
          </a:xfrm>
        </p:spPr>
        <p:txBody>
          <a:bodyPr tIns="0" rIns="144000"/>
          <a:lstStyle>
            <a:lvl1pPr marL="0" indent="0">
              <a:lnSpc>
                <a:spcPct val="90000"/>
              </a:lnSpc>
              <a:spcAft>
                <a:spcPts val="600"/>
              </a:spcAft>
              <a:buNone/>
              <a:defRPr sz="1800" b="1"/>
            </a:lvl1pPr>
            <a:lvl2pPr marL="0" indent="0">
              <a:spcBef>
                <a:spcPts val="0"/>
              </a:spcBef>
              <a:spcAft>
                <a:spcPts val="600"/>
              </a:spcAft>
              <a:buNone/>
              <a:defRPr/>
            </a:lvl2pPr>
            <a:lvl3pPr marL="180000">
              <a:defRPr/>
            </a:lvl3pPr>
            <a:lvl4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4pPr>
            <a:lvl5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5pPr>
            <a:lvl6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6pPr>
            <a:lvl7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7pPr>
            <a:lvl8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8pPr>
            <a:lvl9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/>
              <a:t>Name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endParaRPr lang="de-DE" noProof="0"/>
          </a:p>
        </p:txBody>
      </p:sp>
      <p:sp>
        <p:nvSpPr>
          <p:cNvPr id="25" name="Textplatzhalter 14">
            <a:extLst>
              <a:ext uri="{FF2B5EF4-FFF2-40B4-BE49-F238E27FC236}">
                <a16:creationId xmlns:a16="http://schemas.microsoft.com/office/drawing/2014/main" id="{3190325B-B1A6-40A7-9F37-FEF63E54B26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9087485" y="4005263"/>
            <a:ext cx="2771775" cy="2447926"/>
          </a:xfrm>
        </p:spPr>
        <p:txBody>
          <a:bodyPr tIns="0" rIns="144000"/>
          <a:lstStyle>
            <a:lvl1pPr marL="0" indent="0">
              <a:lnSpc>
                <a:spcPct val="90000"/>
              </a:lnSpc>
              <a:spcAft>
                <a:spcPts val="600"/>
              </a:spcAft>
              <a:buNone/>
              <a:defRPr sz="1800" b="1"/>
            </a:lvl1pPr>
            <a:lvl2pPr marL="0" indent="0">
              <a:spcBef>
                <a:spcPts val="0"/>
              </a:spcBef>
              <a:spcAft>
                <a:spcPts val="600"/>
              </a:spcAft>
              <a:buNone/>
              <a:defRPr/>
            </a:lvl2pPr>
            <a:lvl3pPr marL="180000">
              <a:defRPr/>
            </a:lvl3pPr>
            <a:lvl4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4pPr>
            <a:lvl5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5pPr>
            <a:lvl6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6pPr>
            <a:lvl7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7pPr>
            <a:lvl8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8pPr>
            <a:lvl9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/>
              <a:t>Name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528731404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 x Te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F388DE1-4495-4DD6-AE8F-CB81EF4B61BE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EFA8FABC-34B7-4C47-AF6B-7531796C8310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B42C1DAD-86BF-4EB7-8B9F-8B44A96AC5F8}" type="datetime1">
              <a:rPr lang="de-DE" noProof="0" smtClean="0"/>
              <a:t>22.10.2023</a:t>
            </a:fld>
            <a:endParaRPr lang="de-DE" sz="800" noProof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35C42281-2D18-4ED8-A742-F46088366B6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pPr algn="ctr"/>
            <a:r>
              <a:rPr lang="de-DE" noProof="0"/>
              <a:t>Commerzbank AG, Max Mustermann, GM-C Brand Management 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EF63A14-DD68-4574-8C9B-28B6A68736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>
          <a:xfrm>
            <a:off x="11280774" y="6453188"/>
            <a:ext cx="574675" cy="404812"/>
          </a:xfrm>
        </p:spPr>
        <p:txBody>
          <a:bodyPr/>
          <a:lstStyle/>
          <a:p>
            <a:fld id="{CAEFDB47-5D1C-45E7-8BD0-EF74349B00F7}" type="slidenum">
              <a:rPr lang="de-DE" noProof="0" smtClean="0"/>
              <a:pPr/>
              <a:t>‹#›</a:t>
            </a:fld>
            <a:endParaRPr lang="de-DE" b="0" noProof="0"/>
          </a:p>
        </p:txBody>
      </p:sp>
      <p:sp>
        <p:nvSpPr>
          <p:cNvPr id="6" name="Bildplatzhalter 8">
            <a:extLst>
              <a:ext uri="{FF2B5EF4-FFF2-40B4-BE49-F238E27FC236}">
                <a16:creationId xmlns:a16="http://schemas.microsoft.com/office/drawing/2014/main" id="{6DE0F201-347D-4763-BB5F-C93A1FE96D20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336550" y="1411288"/>
            <a:ext cx="1799009" cy="1585912"/>
          </a:xfrm>
          <a:noFill/>
        </p:spPr>
        <p:txBody>
          <a:bodyPr lIns="0" tIns="0" rIns="0" bIns="0" anchor="ctr"/>
          <a:lstStyle>
            <a:lvl1pPr marL="0" indent="0" algn="ctr">
              <a:buNone/>
              <a:defRPr sz="800">
                <a:solidFill>
                  <a:schemeClr val="accent4"/>
                </a:solidFill>
              </a:defRPr>
            </a:lvl1pPr>
          </a:lstStyle>
          <a:p>
            <a:r>
              <a:rPr lang="de-DE" noProof="0"/>
              <a:t>Fügen Sie ein Bild über Klicken auf das Symbol ein. </a:t>
            </a:r>
            <a:br>
              <a:rPr lang="de-DE" noProof="0"/>
            </a:br>
            <a:br>
              <a:rPr lang="de-DE" noProof="0"/>
            </a:br>
            <a:r>
              <a:rPr lang="de-DE" noProof="0"/>
              <a:t>Alternativ kopieren Sie ein Bild in die Zwischenablage, </a:t>
            </a:r>
            <a:br>
              <a:rPr lang="de-DE" noProof="0"/>
            </a:br>
            <a:r>
              <a:rPr lang="de-DE" noProof="0"/>
              <a:t>wählen Sie den Platzhalter an und klicken Sie einfügen. </a:t>
            </a:r>
          </a:p>
        </p:txBody>
      </p:sp>
      <p:sp>
        <p:nvSpPr>
          <p:cNvPr id="17" name="Bildplatzhalter 8">
            <a:extLst>
              <a:ext uri="{FF2B5EF4-FFF2-40B4-BE49-F238E27FC236}">
                <a16:creationId xmlns:a16="http://schemas.microsoft.com/office/drawing/2014/main" id="{7028381E-328D-4918-99E6-4E5524C063CA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4224338" y="1411288"/>
            <a:ext cx="1800225" cy="1585912"/>
          </a:xfrm>
          <a:noFill/>
        </p:spPr>
        <p:txBody>
          <a:bodyPr lIns="0" tIns="0" rIns="0" bIns="0" anchor="ctr"/>
          <a:lstStyle>
            <a:lvl1pPr marL="0" indent="0" algn="ctr">
              <a:buNone/>
              <a:defRPr sz="800">
                <a:solidFill>
                  <a:schemeClr val="accent4"/>
                </a:solidFill>
              </a:defRPr>
            </a:lvl1pPr>
          </a:lstStyle>
          <a:p>
            <a:r>
              <a:rPr lang="de-DE" noProof="0"/>
              <a:t>Fügen Sie ein Bild über Klicken auf das Symbol ein. </a:t>
            </a:r>
            <a:br>
              <a:rPr lang="de-DE" noProof="0"/>
            </a:br>
            <a:br>
              <a:rPr lang="de-DE" noProof="0"/>
            </a:br>
            <a:r>
              <a:rPr lang="de-DE" noProof="0"/>
              <a:t>Alternativ kopieren Sie ein Bild in die Zwischenablage, </a:t>
            </a:r>
            <a:br>
              <a:rPr lang="de-DE" noProof="0"/>
            </a:br>
            <a:r>
              <a:rPr lang="de-DE" noProof="0"/>
              <a:t>wählen Sie den Platzhalter an und klicken Sie einfügen. </a:t>
            </a:r>
          </a:p>
        </p:txBody>
      </p:sp>
      <p:sp>
        <p:nvSpPr>
          <p:cNvPr id="18" name="Bildplatzhalter 8">
            <a:extLst>
              <a:ext uri="{FF2B5EF4-FFF2-40B4-BE49-F238E27FC236}">
                <a16:creationId xmlns:a16="http://schemas.microsoft.com/office/drawing/2014/main" id="{87851B64-3D55-4F9A-A78D-2B5D73336FDC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8112124" y="1411288"/>
            <a:ext cx="1800299" cy="1585912"/>
          </a:xfrm>
          <a:noFill/>
        </p:spPr>
        <p:txBody>
          <a:bodyPr lIns="0" tIns="0" rIns="0" bIns="0" anchor="ctr"/>
          <a:lstStyle>
            <a:lvl1pPr marL="0" indent="0" algn="ctr">
              <a:buNone/>
              <a:defRPr sz="800">
                <a:solidFill>
                  <a:schemeClr val="accent4"/>
                </a:solidFill>
              </a:defRPr>
            </a:lvl1pPr>
          </a:lstStyle>
          <a:p>
            <a:r>
              <a:rPr lang="de-DE" noProof="0"/>
              <a:t>Fügen Sie ein Bild über Klicken auf das Symbol ein. </a:t>
            </a:r>
            <a:br>
              <a:rPr lang="de-DE" noProof="0"/>
            </a:br>
            <a:br>
              <a:rPr lang="de-DE" noProof="0"/>
            </a:br>
            <a:r>
              <a:rPr lang="de-DE" noProof="0"/>
              <a:t>Alternativ kopieren Sie ein Bild in die Zwischenablage, </a:t>
            </a:r>
            <a:br>
              <a:rPr lang="de-DE" noProof="0"/>
            </a:br>
            <a:r>
              <a:rPr lang="de-DE" noProof="0"/>
              <a:t>wählen Sie den Platzhalter an und klicken Sie einfügen. </a:t>
            </a:r>
          </a:p>
        </p:txBody>
      </p:sp>
      <p:sp>
        <p:nvSpPr>
          <p:cNvPr id="19" name="Bildplatzhalter 8">
            <a:extLst>
              <a:ext uri="{FF2B5EF4-FFF2-40B4-BE49-F238E27FC236}">
                <a16:creationId xmlns:a16="http://schemas.microsoft.com/office/drawing/2014/main" id="{BB4787BB-E7FE-4FF4-9440-F5B8CA651611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336550" y="4005263"/>
            <a:ext cx="1799010" cy="1583977"/>
          </a:xfrm>
          <a:noFill/>
        </p:spPr>
        <p:txBody>
          <a:bodyPr lIns="0" tIns="0" rIns="0" bIns="0" anchor="ctr"/>
          <a:lstStyle>
            <a:lvl1pPr marL="0" indent="0" algn="ctr">
              <a:buNone/>
              <a:defRPr sz="800">
                <a:solidFill>
                  <a:schemeClr val="accent4"/>
                </a:solidFill>
              </a:defRPr>
            </a:lvl1pPr>
          </a:lstStyle>
          <a:p>
            <a:r>
              <a:rPr lang="de-DE" noProof="0"/>
              <a:t>Fügen Sie ein Bild über Klicken auf das Symbol ein. </a:t>
            </a:r>
            <a:br>
              <a:rPr lang="de-DE" noProof="0"/>
            </a:br>
            <a:br>
              <a:rPr lang="de-DE" noProof="0"/>
            </a:br>
            <a:r>
              <a:rPr lang="de-DE" noProof="0"/>
              <a:t>Alternativ kopieren Sie ein Bild in die Zwischenablage, </a:t>
            </a:r>
            <a:br>
              <a:rPr lang="de-DE" noProof="0"/>
            </a:br>
            <a:r>
              <a:rPr lang="de-DE" noProof="0"/>
              <a:t>wählen Sie den Platzhalter an und klicken Sie einfügen. </a:t>
            </a:r>
          </a:p>
        </p:txBody>
      </p:sp>
      <p:sp>
        <p:nvSpPr>
          <p:cNvPr id="14" name="Bildplatzhalter 8">
            <a:extLst>
              <a:ext uri="{FF2B5EF4-FFF2-40B4-BE49-F238E27FC236}">
                <a16:creationId xmlns:a16="http://schemas.microsoft.com/office/drawing/2014/main" id="{AFD9531D-D28C-4494-8AEA-67DB0D62B1CE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 bwMode="gray">
          <a:xfrm>
            <a:off x="4224338" y="4005263"/>
            <a:ext cx="1800225" cy="1584325"/>
          </a:xfrm>
          <a:noFill/>
        </p:spPr>
        <p:txBody>
          <a:bodyPr lIns="0" tIns="0" rIns="0" bIns="0" anchor="ctr"/>
          <a:lstStyle>
            <a:lvl1pPr marL="0" indent="0" algn="ctr">
              <a:buNone/>
              <a:defRPr sz="800">
                <a:solidFill>
                  <a:schemeClr val="accent4"/>
                </a:solidFill>
              </a:defRPr>
            </a:lvl1pPr>
          </a:lstStyle>
          <a:p>
            <a:r>
              <a:rPr lang="de-DE" noProof="0"/>
              <a:t>Fügen Sie ein Bild über Klicken auf das Symbol ein. </a:t>
            </a:r>
            <a:br>
              <a:rPr lang="de-DE" noProof="0"/>
            </a:br>
            <a:br>
              <a:rPr lang="de-DE" noProof="0"/>
            </a:br>
            <a:r>
              <a:rPr lang="de-DE" noProof="0"/>
              <a:t>Alternativ kopieren Sie ein Bild in die Zwischenablage, </a:t>
            </a:r>
            <a:br>
              <a:rPr lang="de-DE" noProof="0"/>
            </a:br>
            <a:r>
              <a:rPr lang="de-DE" noProof="0"/>
              <a:t>wählen Sie den Platzhalter an und klicken Sie einfügen. </a:t>
            </a:r>
          </a:p>
        </p:txBody>
      </p:sp>
      <p:sp>
        <p:nvSpPr>
          <p:cNvPr id="16" name="Bildplatzhalter 8">
            <a:extLst>
              <a:ext uri="{FF2B5EF4-FFF2-40B4-BE49-F238E27FC236}">
                <a16:creationId xmlns:a16="http://schemas.microsoft.com/office/drawing/2014/main" id="{5DF72A33-7BB7-481A-BDD9-873F8214A1A8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 bwMode="gray">
          <a:xfrm>
            <a:off x="8112125" y="4005263"/>
            <a:ext cx="1800299" cy="1583977"/>
          </a:xfrm>
          <a:noFill/>
        </p:spPr>
        <p:txBody>
          <a:bodyPr lIns="0" tIns="0" rIns="0" bIns="0" anchor="ctr"/>
          <a:lstStyle>
            <a:lvl1pPr marL="0" indent="0" algn="ctr">
              <a:buNone/>
              <a:defRPr sz="800">
                <a:solidFill>
                  <a:schemeClr val="accent4"/>
                </a:solidFill>
              </a:defRPr>
            </a:lvl1pPr>
          </a:lstStyle>
          <a:p>
            <a:r>
              <a:rPr lang="de-DE" noProof="0"/>
              <a:t>Fügen Sie ein Bild über Klicken auf das Symbol ein. </a:t>
            </a:r>
            <a:br>
              <a:rPr lang="de-DE" noProof="0"/>
            </a:br>
            <a:br>
              <a:rPr lang="de-DE" noProof="0"/>
            </a:br>
            <a:r>
              <a:rPr lang="de-DE" noProof="0"/>
              <a:t>Alternativ kopieren Sie ein Bild in die Zwischenablage, </a:t>
            </a:r>
            <a:br>
              <a:rPr lang="de-DE" noProof="0"/>
            </a:br>
            <a:r>
              <a:rPr lang="de-DE" noProof="0"/>
              <a:t>wählen Sie den Platzhalter an und klicken Sie einfügen. </a:t>
            </a:r>
          </a:p>
        </p:txBody>
      </p:sp>
      <p:sp>
        <p:nvSpPr>
          <p:cNvPr id="21" name="Textplatzhalter 14">
            <a:extLst>
              <a:ext uri="{FF2B5EF4-FFF2-40B4-BE49-F238E27FC236}">
                <a16:creationId xmlns:a16="http://schemas.microsoft.com/office/drawing/2014/main" id="{D7640FDE-7410-4915-92EE-5E966352203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2279551" y="1411288"/>
            <a:ext cx="1800225" cy="2447926"/>
          </a:xfrm>
        </p:spPr>
        <p:txBody>
          <a:bodyPr tIns="0" rIns="144000"/>
          <a:lstStyle>
            <a:lvl1pPr marL="0" indent="0">
              <a:lnSpc>
                <a:spcPct val="90000"/>
              </a:lnSpc>
              <a:spcAft>
                <a:spcPts val="600"/>
              </a:spcAft>
              <a:buNone/>
              <a:defRPr sz="1400" b="1"/>
            </a:lvl1pPr>
            <a:lvl2pPr marL="0" indent="0">
              <a:spcBef>
                <a:spcPts val="0"/>
              </a:spcBef>
              <a:spcAft>
                <a:spcPts val="600"/>
              </a:spcAft>
              <a:buNone/>
              <a:defRPr/>
            </a:lvl2pPr>
            <a:lvl3pPr marL="180000">
              <a:defRPr/>
            </a:lvl3pPr>
            <a:lvl4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4pPr>
            <a:lvl5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5pPr>
            <a:lvl6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6pPr>
            <a:lvl7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7pPr>
            <a:lvl8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8pPr>
            <a:lvl9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/>
              <a:t>Name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endParaRPr lang="de-DE" noProof="0"/>
          </a:p>
        </p:txBody>
      </p:sp>
      <p:sp>
        <p:nvSpPr>
          <p:cNvPr id="22" name="Textplatzhalter 14">
            <a:extLst>
              <a:ext uri="{FF2B5EF4-FFF2-40B4-BE49-F238E27FC236}">
                <a16:creationId xmlns:a16="http://schemas.microsoft.com/office/drawing/2014/main" id="{F266778B-D2C6-4F88-99A0-B3CDF5745D1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6167387" y="1411288"/>
            <a:ext cx="1800225" cy="2447926"/>
          </a:xfrm>
        </p:spPr>
        <p:txBody>
          <a:bodyPr tIns="0" rIns="144000"/>
          <a:lstStyle>
            <a:lvl1pPr marL="0" indent="0">
              <a:lnSpc>
                <a:spcPct val="90000"/>
              </a:lnSpc>
              <a:spcAft>
                <a:spcPts val="600"/>
              </a:spcAft>
              <a:buNone/>
              <a:defRPr sz="1400" b="1"/>
            </a:lvl1pPr>
            <a:lvl2pPr marL="0" indent="0">
              <a:spcBef>
                <a:spcPts val="0"/>
              </a:spcBef>
              <a:spcAft>
                <a:spcPts val="600"/>
              </a:spcAft>
              <a:buNone/>
              <a:defRPr/>
            </a:lvl2pPr>
            <a:lvl3pPr marL="180000">
              <a:defRPr/>
            </a:lvl3pPr>
            <a:lvl4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4pPr>
            <a:lvl5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5pPr>
            <a:lvl6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6pPr>
            <a:lvl7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7pPr>
            <a:lvl8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8pPr>
            <a:lvl9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/>
              <a:t>Name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endParaRPr lang="de-DE" noProof="0"/>
          </a:p>
        </p:txBody>
      </p:sp>
      <p:sp>
        <p:nvSpPr>
          <p:cNvPr id="26" name="Textplatzhalter 14">
            <a:extLst>
              <a:ext uri="{FF2B5EF4-FFF2-40B4-BE49-F238E27FC236}">
                <a16:creationId xmlns:a16="http://schemas.microsoft.com/office/drawing/2014/main" id="{D8FED350-D682-4E24-9FD1-805C63A0EAA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10055224" y="1411288"/>
            <a:ext cx="1800225" cy="2447926"/>
          </a:xfrm>
        </p:spPr>
        <p:txBody>
          <a:bodyPr tIns="0" rIns="144000"/>
          <a:lstStyle>
            <a:lvl1pPr marL="0" indent="0">
              <a:lnSpc>
                <a:spcPct val="90000"/>
              </a:lnSpc>
              <a:spcAft>
                <a:spcPts val="600"/>
              </a:spcAft>
              <a:buNone/>
              <a:defRPr sz="1400" b="1"/>
            </a:lvl1pPr>
            <a:lvl2pPr marL="0" indent="0">
              <a:spcBef>
                <a:spcPts val="0"/>
              </a:spcBef>
              <a:spcAft>
                <a:spcPts val="600"/>
              </a:spcAft>
              <a:buNone/>
              <a:defRPr/>
            </a:lvl2pPr>
            <a:lvl3pPr marL="180000">
              <a:defRPr/>
            </a:lvl3pPr>
            <a:lvl4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4pPr>
            <a:lvl5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5pPr>
            <a:lvl6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6pPr>
            <a:lvl7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7pPr>
            <a:lvl8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8pPr>
            <a:lvl9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/>
              <a:t>Name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endParaRPr lang="de-DE" noProof="0"/>
          </a:p>
        </p:txBody>
      </p:sp>
      <p:sp>
        <p:nvSpPr>
          <p:cNvPr id="33" name="Textplatzhalter 14">
            <a:extLst>
              <a:ext uri="{FF2B5EF4-FFF2-40B4-BE49-F238E27FC236}">
                <a16:creationId xmlns:a16="http://schemas.microsoft.com/office/drawing/2014/main" id="{FEDD2576-803F-41A3-8A60-6AF31E78CE6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2279551" y="4005263"/>
            <a:ext cx="1800225" cy="2447926"/>
          </a:xfrm>
        </p:spPr>
        <p:txBody>
          <a:bodyPr tIns="0" rIns="144000"/>
          <a:lstStyle>
            <a:lvl1pPr marL="0" indent="0">
              <a:lnSpc>
                <a:spcPct val="90000"/>
              </a:lnSpc>
              <a:spcAft>
                <a:spcPts val="600"/>
              </a:spcAft>
              <a:buNone/>
              <a:defRPr sz="1400" b="1"/>
            </a:lvl1pPr>
            <a:lvl2pPr marL="0" indent="0">
              <a:spcBef>
                <a:spcPts val="0"/>
              </a:spcBef>
              <a:spcAft>
                <a:spcPts val="600"/>
              </a:spcAft>
              <a:buNone/>
              <a:defRPr/>
            </a:lvl2pPr>
            <a:lvl3pPr marL="180000">
              <a:defRPr/>
            </a:lvl3pPr>
            <a:lvl4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4pPr>
            <a:lvl5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5pPr>
            <a:lvl6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6pPr>
            <a:lvl7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7pPr>
            <a:lvl8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8pPr>
            <a:lvl9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/>
              <a:t>Name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endParaRPr lang="de-DE" noProof="0"/>
          </a:p>
        </p:txBody>
      </p:sp>
      <p:sp>
        <p:nvSpPr>
          <p:cNvPr id="34" name="Textplatzhalter 14">
            <a:extLst>
              <a:ext uri="{FF2B5EF4-FFF2-40B4-BE49-F238E27FC236}">
                <a16:creationId xmlns:a16="http://schemas.microsoft.com/office/drawing/2014/main" id="{A7FA28E5-D15A-4E79-8C10-420812F0BFC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6167387" y="4005263"/>
            <a:ext cx="1800225" cy="2447926"/>
          </a:xfrm>
        </p:spPr>
        <p:txBody>
          <a:bodyPr tIns="0" rIns="144000"/>
          <a:lstStyle>
            <a:lvl1pPr marL="0" indent="0">
              <a:lnSpc>
                <a:spcPct val="90000"/>
              </a:lnSpc>
              <a:spcAft>
                <a:spcPts val="600"/>
              </a:spcAft>
              <a:buNone/>
              <a:defRPr sz="1400" b="1"/>
            </a:lvl1pPr>
            <a:lvl2pPr marL="0" indent="0">
              <a:spcBef>
                <a:spcPts val="0"/>
              </a:spcBef>
              <a:spcAft>
                <a:spcPts val="600"/>
              </a:spcAft>
              <a:buNone/>
              <a:defRPr/>
            </a:lvl2pPr>
            <a:lvl3pPr marL="180000">
              <a:defRPr/>
            </a:lvl3pPr>
            <a:lvl4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4pPr>
            <a:lvl5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5pPr>
            <a:lvl6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6pPr>
            <a:lvl7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7pPr>
            <a:lvl8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8pPr>
            <a:lvl9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/>
              <a:t>Name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endParaRPr lang="de-DE" noProof="0"/>
          </a:p>
        </p:txBody>
      </p:sp>
      <p:sp>
        <p:nvSpPr>
          <p:cNvPr id="35" name="Textplatzhalter 14">
            <a:extLst>
              <a:ext uri="{FF2B5EF4-FFF2-40B4-BE49-F238E27FC236}">
                <a16:creationId xmlns:a16="http://schemas.microsoft.com/office/drawing/2014/main" id="{ED35C739-05BA-4B26-BE5F-409001E94A95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10055224" y="4005263"/>
            <a:ext cx="1800225" cy="2447926"/>
          </a:xfrm>
        </p:spPr>
        <p:txBody>
          <a:bodyPr tIns="0" rIns="144000"/>
          <a:lstStyle>
            <a:lvl1pPr marL="0" indent="0">
              <a:lnSpc>
                <a:spcPct val="90000"/>
              </a:lnSpc>
              <a:spcAft>
                <a:spcPts val="600"/>
              </a:spcAft>
              <a:buNone/>
              <a:defRPr sz="1400" b="1"/>
            </a:lvl1pPr>
            <a:lvl2pPr marL="0" indent="0">
              <a:spcBef>
                <a:spcPts val="0"/>
              </a:spcBef>
              <a:spcAft>
                <a:spcPts val="600"/>
              </a:spcAft>
              <a:buNone/>
              <a:defRPr/>
            </a:lvl2pPr>
            <a:lvl3pPr marL="180000">
              <a:defRPr/>
            </a:lvl3pPr>
            <a:lvl4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4pPr>
            <a:lvl5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5pPr>
            <a:lvl6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6pPr>
            <a:lvl7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7pPr>
            <a:lvl8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8pPr>
            <a:lvl9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/>
              <a:t>Name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182497359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8B516798-E4B4-4414-AB3E-309373984668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>
          <a:xfrm>
            <a:off x="336550" y="6936246"/>
            <a:ext cx="0" cy="0"/>
          </a:xfrm>
        </p:spPr>
        <p:txBody>
          <a:bodyPr/>
          <a:lstStyle>
            <a:lvl1pPr>
              <a:defRPr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fld id="{CFF34BCF-05FC-4868-84C5-00EB00BCFE0E}" type="datetime1">
              <a:rPr lang="de-DE" noProof="0" smtClean="0"/>
              <a:t>22.10.2023</a:t>
            </a:fld>
            <a:endParaRPr lang="de-DE" noProof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CEABE745-C331-4E9F-83AF-E0923547ADB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>
          <a:xfrm>
            <a:off x="336550" y="6936246"/>
            <a:ext cx="0" cy="0"/>
          </a:xfrm>
        </p:spPr>
        <p:txBody>
          <a:bodyPr/>
          <a:lstStyle>
            <a:lvl1pPr>
              <a:defRPr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r>
              <a:rPr lang="de-DE" noProof="0"/>
              <a:t>Commerzbank AG, Max Mustermann, GM-C Brand Management 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CEC9D6A-EEDB-4842-8E50-B62D4608E5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>
          <a:xfrm>
            <a:off x="336550" y="6936246"/>
            <a:ext cx="0" cy="0"/>
          </a:xfrm>
        </p:spPr>
        <p:txBody>
          <a:bodyPr/>
          <a:lstStyle>
            <a:lvl1pPr>
              <a:defRPr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fld id="{CAEFDB47-5D1C-45E7-8BD0-EF74349B00F7}" type="slidenum">
              <a:rPr lang="de-DE" noProof="0" smtClean="0"/>
              <a:pPr/>
              <a:t>‹#›</a:t>
            </a:fld>
            <a:endParaRPr lang="de-DE" noProof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2ADF7C12-E2EB-5514-8054-0AA76AF29A1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tretch/>
        </p:blipFill>
        <p:spPr>
          <a:xfrm>
            <a:off x="4969566" y="2678044"/>
            <a:ext cx="2252868" cy="15019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275427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 Petrol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8B516798-E4B4-4414-AB3E-309373984668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invGray">
          <a:xfrm>
            <a:off x="336550" y="6936246"/>
            <a:ext cx="0" cy="0"/>
          </a:xfrm>
        </p:spPr>
        <p:txBody>
          <a:bodyPr/>
          <a:lstStyle>
            <a:lvl1pPr>
              <a:defRPr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fld id="{CFF34BCF-05FC-4868-84C5-00EB00BCFE0E}" type="datetime1">
              <a:rPr lang="de-DE" noProof="0" smtClean="0"/>
              <a:t>22.10.2023</a:t>
            </a:fld>
            <a:endParaRPr lang="de-DE" noProof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CEABE745-C331-4E9F-83AF-E0923547ADB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invGray">
          <a:xfrm>
            <a:off x="336550" y="6936246"/>
            <a:ext cx="0" cy="0"/>
          </a:xfrm>
        </p:spPr>
        <p:txBody>
          <a:bodyPr/>
          <a:lstStyle>
            <a:lvl1pPr>
              <a:defRPr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r>
              <a:rPr lang="de-DE" noProof="0"/>
              <a:t>Commerzbank AG, Max Mustermann, GM-C Brand Management 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CEC9D6A-EEDB-4842-8E50-B62D4608E5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invGray">
          <a:xfrm>
            <a:off x="336550" y="6936246"/>
            <a:ext cx="0" cy="0"/>
          </a:xfrm>
        </p:spPr>
        <p:txBody>
          <a:bodyPr/>
          <a:lstStyle>
            <a:lvl1pPr>
              <a:defRPr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fld id="{CAEFDB47-5D1C-45E7-8BD0-EF74349B00F7}" type="slidenum">
              <a:rPr lang="de-DE" noProof="0" smtClean="0"/>
              <a:pPr/>
              <a:t>‹#›</a:t>
            </a:fld>
            <a:endParaRPr lang="de-DE" noProof="0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BB817328-8EA6-4F9B-CD28-029E3BC1C89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invGray">
          <a:xfrm>
            <a:off x="4969564" y="2678047"/>
            <a:ext cx="2252861" cy="15019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6785694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9A50A06-F1AD-43B0-B0C8-484379FAC66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336550" y="1411288"/>
            <a:ext cx="11520488" cy="3313112"/>
          </a:xfrm>
        </p:spPr>
        <p:txBody>
          <a:bodyPr rIns="0" bIns="144000" anchor="b"/>
          <a:lstStyle>
            <a:lvl1pPr algn="ctr">
              <a:defRPr sz="6600">
                <a:solidFill>
                  <a:schemeClr val="tx1"/>
                </a:solidFill>
              </a:defRPr>
            </a:lvl1pPr>
          </a:lstStyle>
          <a:p>
            <a:r>
              <a:rPr lang="de-DE" noProof="0" dirty="0"/>
              <a:t>Titel der </a:t>
            </a:r>
            <a:br>
              <a:rPr lang="de-DE" noProof="0" dirty="0"/>
            </a:br>
            <a:r>
              <a:rPr lang="de-DE" noProof="0" dirty="0"/>
              <a:t>Präsentation in </a:t>
            </a:r>
            <a:br>
              <a:rPr lang="de-DE" noProof="0" dirty="0"/>
            </a:br>
            <a:r>
              <a:rPr lang="de-DE" noProof="0" dirty="0"/>
              <a:t>maximal drei Zeil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95C52B9B-1FC0-4A8D-A22E-A6CDD9256294}"/>
              </a:ext>
            </a:extLst>
          </p:cNvPr>
          <p:cNvSpPr>
            <a:spLocks noGrp="1"/>
          </p:cNvSpPr>
          <p:nvPr>
            <p:ph type="subTitle" idx="1"/>
          </p:nvPr>
        </p:nvSpPr>
        <p:spPr bwMode="gray">
          <a:xfrm>
            <a:off x="3251684" y="5445000"/>
            <a:ext cx="5689116" cy="574675"/>
          </a:xfrm>
        </p:spPr>
        <p:txBody>
          <a:bodyPr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</a:defRPr>
            </a:lvl1pPr>
            <a:lvl2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accent1"/>
                </a:solidFill>
              </a:defRPr>
            </a:lvl2pPr>
            <a:lvl3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accent1"/>
                </a:solidFill>
              </a:defRPr>
            </a:lvl3pPr>
            <a:lvl4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accent1"/>
                </a:solidFill>
              </a:defRPr>
            </a:lvl4pPr>
            <a:lvl5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accent1"/>
                </a:solidFill>
              </a:defRPr>
            </a:lvl5pPr>
            <a:lvl6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accent1"/>
                </a:solidFill>
              </a:defRPr>
            </a:lvl6pPr>
            <a:lvl7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accent1"/>
                </a:solidFill>
              </a:defRPr>
            </a:lvl7pPr>
            <a:lvl8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accent1"/>
                </a:solidFill>
              </a:defRPr>
            </a:lvl8pPr>
            <a:lvl9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accent1"/>
                </a:solidFill>
              </a:defRPr>
            </a:lvl9pPr>
          </a:lstStyle>
          <a:p>
            <a:r>
              <a:rPr lang="en-US" noProof="0"/>
              <a:t>Click to edit Master subtitle style</a:t>
            </a:r>
            <a:endParaRPr lang="de-DE" noProof="0"/>
          </a:p>
        </p:txBody>
      </p:sp>
      <p:sp>
        <p:nvSpPr>
          <p:cNvPr id="12" name="Google Shape;192;p37">
            <a:extLst>
              <a:ext uri="{FF2B5EF4-FFF2-40B4-BE49-F238E27FC236}">
                <a16:creationId xmlns:a16="http://schemas.microsoft.com/office/drawing/2014/main" id="{A89D66A7-79C9-49DD-B8D8-7E63C48072E6}"/>
              </a:ext>
            </a:extLst>
          </p:cNvPr>
          <p:cNvSpPr/>
          <p:nvPr userDrawn="1"/>
        </p:nvSpPr>
        <p:spPr bwMode="gray">
          <a:xfrm>
            <a:off x="5232000" y="4868863"/>
            <a:ext cx="1731102" cy="142423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>
            <a:noFill/>
          </a:ln>
        </p:spPr>
        <p:txBody>
          <a:bodyPr spcFirstLastPara="1" wrap="square" lIns="91450" tIns="45700" rIns="91450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de-DE" sz="1800" noProof="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D9B8A9EC-5AE1-4C2A-BBEE-518EA4E035A1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/>
        <p:txBody>
          <a:bodyPr wrap="none"/>
          <a:lstStyle/>
          <a:p>
            <a:fld id="{4842854A-B14C-4FFC-AE20-3DD7D10E469F}" type="datetime1">
              <a:rPr lang="de-DE" noProof="0" smtClean="0"/>
              <a:t>22.10.2023</a:t>
            </a:fld>
            <a:endParaRPr lang="de-DE" sz="800" noProof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ABF6EECD-F0A5-46EC-82DC-A250C2AA7F6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pPr algn="ctr"/>
            <a:r>
              <a:rPr lang="de-DE" noProof="0"/>
              <a:t>Commerzbank AG, Max Mustermann, GM-C Brand Management 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03F6537-555F-452F-82FA-B188EF50AA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 wrap="none"/>
          <a:lstStyle/>
          <a:p>
            <a:fld id="{CAEFDB47-5D1C-45E7-8BD0-EF74349B00F7}" type="slidenum">
              <a:rPr lang="de-DE" noProof="0" smtClean="0"/>
              <a:pPr/>
              <a:t>‹#›</a:t>
            </a:fld>
            <a:endParaRPr lang="de-DE" b="1" noProof="0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75E3423C-7C63-F50A-C5F7-E220E7BCC40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tretch/>
        </p:blipFill>
        <p:spPr>
          <a:xfrm>
            <a:off x="5519739" y="521217"/>
            <a:ext cx="1153167" cy="7687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540502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Petrol / Imag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9A50A06-F1AD-43B0-B0C8-484379FAC66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invGray">
          <a:xfrm>
            <a:off x="336550" y="1412874"/>
            <a:ext cx="11518895" cy="3311525"/>
          </a:xfrm>
        </p:spPr>
        <p:txBody>
          <a:bodyPr rIns="0" bIns="144000" anchor="b"/>
          <a:lstStyle>
            <a:lvl1pPr algn="ctr">
              <a:defRPr sz="6600">
                <a:solidFill>
                  <a:schemeClr val="bg1"/>
                </a:solidFill>
              </a:defRPr>
            </a:lvl1pPr>
          </a:lstStyle>
          <a:p>
            <a:r>
              <a:rPr lang="de-DE" noProof="0" dirty="0"/>
              <a:t>Titel der </a:t>
            </a:r>
            <a:br>
              <a:rPr lang="de-DE" noProof="0" dirty="0"/>
            </a:br>
            <a:r>
              <a:rPr lang="de-DE" noProof="0" dirty="0"/>
              <a:t>Präsentation in </a:t>
            </a:r>
            <a:br>
              <a:rPr lang="de-DE" noProof="0" dirty="0"/>
            </a:br>
            <a:r>
              <a:rPr lang="de-DE" noProof="0" dirty="0"/>
              <a:t>maximal drei Zeil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95C52B9B-1FC0-4A8D-A22E-A6CDD9256294}"/>
              </a:ext>
            </a:extLst>
          </p:cNvPr>
          <p:cNvSpPr>
            <a:spLocks noGrp="1"/>
          </p:cNvSpPr>
          <p:nvPr>
            <p:ph type="subTitle" idx="1"/>
          </p:nvPr>
        </p:nvSpPr>
        <p:spPr bwMode="invGray">
          <a:xfrm>
            <a:off x="3251684" y="5445000"/>
            <a:ext cx="5689116" cy="574675"/>
          </a:xfrm>
        </p:spPr>
        <p:txBody>
          <a:bodyPr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bg1"/>
                </a:solidFill>
              </a:defRPr>
            </a:lvl1pPr>
            <a:lvl2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bg1"/>
                </a:solidFill>
              </a:defRPr>
            </a:lvl2pPr>
            <a:lvl3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bg1"/>
                </a:solidFill>
              </a:defRPr>
            </a:lvl3pPr>
            <a:lvl4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bg1"/>
                </a:solidFill>
              </a:defRPr>
            </a:lvl4pPr>
            <a:lvl5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bg1"/>
                </a:solidFill>
              </a:defRPr>
            </a:lvl5pPr>
            <a:lvl6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bg1"/>
                </a:solidFill>
              </a:defRPr>
            </a:lvl6pPr>
            <a:lvl7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bg1"/>
                </a:solidFill>
              </a:defRPr>
            </a:lvl7pPr>
            <a:lvl8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bg1"/>
                </a:solidFill>
              </a:defRPr>
            </a:lvl8pPr>
            <a:lvl9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edit Master subtitle style</a:t>
            </a:r>
            <a:endParaRPr lang="de-DE" noProof="0"/>
          </a:p>
        </p:txBody>
      </p:sp>
      <p:sp>
        <p:nvSpPr>
          <p:cNvPr id="12" name="Google Shape;192;p37">
            <a:extLst>
              <a:ext uri="{FF2B5EF4-FFF2-40B4-BE49-F238E27FC236}">
                <a16:creationId xmlns:a16="http://schemas.microsoft.com/office/drawing/2014/main" id="{A89D66A7-79C9-49DD-B8D8-7E63C48072E6}"/>
              </a:ext>
            </a:extLst>
          </p:cNvPr>
          <p:cNvSpPr/>
          <p:nvPr userDrawn="1"/>
        </p:nvSpPr>
        <p:spPr bwMode="gray">
          <a:xfrm>
            <a:off x="5232000" y="4868863"/>
            <a:ext cx="1731102" cy="142423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>
            <a:noFill/>
          </a:ln>
        </p:spPr>
        <p:txBody>
          <a:bodyPr spcFirstLastPara="1" wrap="square" lIns="91450" tIns="45700" rIns="91450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de-DE" sz="1800" noProof="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6E7008C-2C7E-41ED-9F05-C6A0BDF77AAA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inv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F3C716E-955A-4705-A6BC-8CA8EC030986}" type="datetime1">
              <a:rPr lang="de-DE" noProof="0" smtClean="0"/>
              <a:t>22.10.2023</a:t>
            </a:fld>
            <a:endParaRPr lang="de-DE" noProof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4C2CF0B-622F-4545-BE11-8DDD05100C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inv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/>
              <a:t>Commerzbank AG, Max Mustermann, GM-C Brand Management 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EE393D8-FCE9-4E38-87AE-611557F692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inv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AEFDB47-5D1C-45E7-8BD0-EF74349B00F7}" type="slidenum">
              <a:rPr lang="de-DE" noProof="0" smtClean="0"/>
              <a:pPr/>
              <a:t>‹#›</a:t>
            </a:fld>
            <a:endParaRPr lang="de-DE" noProof="0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5021966A-CBBE-D2A6-FF66-B01E60B2680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invGray">
          <a:xfrm>
            <a:off x="5519738" y="520486"/>
            <a:ext cx="1152526" cy="7683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163289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/ Conten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>
            <a:extLst>
              <a:ext uri="{FF2B5EF4-FFF2-40B4-BE49-F238E27FC236}">
                <a16:creationId xmlns:a16="http://schemas.microsoft.com/office/drawing/2014/main" id="{BE95F051-78E1-4BBE-9041-A0D9098035B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invGray">
          <a:xfrm>
            <a:off x="336550" y="1125538"/>
            <a:ext cx="11520488" cy="3598862"/>
          </a:xfrm>
        </p:spPr>
        <p:txBody>
          <a:bodyPr/>
          <a:lstStyle>
            <a:lvl1pPr marL="0" indent="432000" algn="ctr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bg1"/>
              </a:buClr>
              <a:buFont typeface="+mj-lt"/>
              <a:buAutoNum type="arabicPeriod"/>
              <a:defRPr sz="3200" b="1">
                <a:solidFill>
                  <a:schemeClr val="bg1"/>
                </a:solidFill>
              </a:defRPr>
            </a:lvl1pPr>
            <a:lvl2pPr marL="0" indent="0" algn="ctr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</a:defRPr>
            </a:lvl2pPr>
            <a:lvl3pPr marL="0" indent="0" algn="ctr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</a:defRPr>
            </a:lvl3pPr>
            <a:lvl4pPr marL="0" indent="0" algn="ctr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</a:defRPr>
            </a:lvl4pPr>
            <a:lvl5pPr marL="0" indent="0" algn="ctr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</a:defRPr>
            </a:lvl5pPr>
            <a:lvl6pPr marL="0" indent="0" algn="ctr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</a:defRPr>
            </a:lvl6pPr>
            <a:lvl7pPr marL="0" indent="0" algn="ctr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</a:defRPr>
            </a:lvl7pPr>
            <a:lvl8pPr marL="0" indent="0" algn="ctr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</a:defRPr>
            </a:lvl8pPr>
            <a:lvl9pPr marL="0" indent="0" algn="ctr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AEFB2D47-3D81-4721-9D85-C768E73AE3DC}"/>
              </a:ext>
            </a:extLst>
          </p:cNvPr>
          <p:cNvSpPr txBox="1">
            <a:spLocks/>
          </p:cNvSpPr>
          <p:nvPr userDrawn="1"/>
        </p:nvSpPr>
        <p:spPr bwMode="invGray">
          <a:xfrm>
            <a:off x="5703746" y="5474076"/>
            <a:ext cx="784510" cy="211746"/>
          </a:xfrm>
          <a:custGeom>
            <a:avLst/>
            <a:gdLst/>
            <a:ahLst/>
            <a:cxnLst/>
            <a:rect l="l" t="t" r="r" b="b"/>
            <a:pathLst>
              <a:path w="784510" h="211746">
                <a:moveTo>
                  <a:pt x="757833" y="104143"/>
                </a:moveTo>
                <a:cubicBezTo>
                  <a:pt x="750541" y="107120"/>
                  <a:pt x="739602" y="109650"/>
                  <a:pt x="725017" y="111733"/>
                </a:cubicBezTo>
                <a:cubicBezTo>
                  <a:pt x="716757" y="112924"/>
                  <a:pt x="710915" y="114263"/>
                  <a:pt x="707492" y="115752"/>
                </a:cubicBezTo>
                <a:cubicBezTo>
                  <a:pt x="704069" y="117240"/>
                  <a:pt x="701427" y="119416"/>
                  <a:pt x="699567" y="122281"/>
                </a:cubicBezTo>
                <a:cubicBezTo>
                  <a:pt x="697707" y="125146"/>
                  <a:pt x="696776" y="128328"/>
                  <a:pt x="696776" y="131825"/>
                </a:cubicBezTo>
                <a:cubicBezTo>
                  <a:pt x="696776" y="137183"/>
                  <a:pt x="698804" y="141648"/>
                  <a:pt x="702860" y="145220"/>
                </a:cubicBezTo>
                <a:cubicBezTo>
                  <a:pt x="706915" y="148791"/>
                  <a:pt x="712850" y="150577"/>
                  <a:pt x="720663" y="150577"/>
                </a:cubicBezTo>
                <a:cubicBezTo>
                  <a:pt x="728402" y="150577"/>
                  <a:pt x="735286" y="148884"/>
                  <a:pt x="741313" y="145499"/>
                </a:cubicBezTo>
                <a:cubicBezTo>
                  <a:pt x="747341" y="142113"/>
                  <a:pt x="751768" y="137480"/>
                  <a:pt x="754596" y="131602"/>
                </a:cubicBezTo>
                <a:cubicBezTo>
                  <a:pt x="756754" y="127063"/>
                  <a:pt x="757833" y="120365"/>
                  <a:pt x="757833" y="111510"/>
                </a:cubicBezTo>
                <a:close/>
                <a:moveTo>
                  <a:pt x="593564" y="59048"/>
                </a:moveTo>
                <a:cubicBezTo>
                  <a:pt x="584634" y="59048"/>
                  <a:pt x="577174" y="62694"/>
                  <a:pt x="571184" y="69987"/>
                </a:cubicBezTo>
                <a:cubicBezTo>
                  <a:pt x="565194" y="77280"/>
                  <a:pt x="562199" y="88776"/>
                  <a:pt x="562199" y="104478"/>
                </a:cubicBezTo>
                <a:cubicBezTo>
                  <a:pt x="562199" y="119658"/>
                  <a:pt x="565398" y="131006"/>
                  <a:pt x="571798" y="138522"/>
                </a:cubicBezTo>
                <a:cubicBezTo>
                  <a:pt x="578198" y="146038"/>
                  <a:pt x="585751" y="149796"/>
                  <a:pt x="594457" y="149796"/>
                </a:cubicBezTo>
                <a:cubicBezTo>
                  <a:pt x="603238" y="149796"/>
                  <a:pt x="610698" y="146206"/>
                  <a:pt x="616837" y="139025"/>
                </a:cubicBezTo>
                <a:cubicBezTo>
                  <a:pt x="622976" y="131844"/>
                  <a:pt x="626046" y="120886"/>
                  <a:pt x="626046" y="106152"/>
                </a:cubicBezTo>
                <a:cubicBezTo>
                  <a:pt x="626046" y="89930"/>
                  <a:pt x="622920" y="78024"/>
                  <a:pt x="616670" y="70433"/>
                </a:cubicBezTo>
                <a:cubicBezTo>
                  <a:pt x="610419" y="62843"/>
                  <a:pt x="602717" y="59048"/>
                  <a:pt x="593564" y="59048"/>
                </a:cubicBezTo>
                <a:close/>
                <a:moveTo>
                  <a:pt x="203374" y="59048"/>
                </a:moveTo>
                <a:cubicBezTo>
                  <a:pt x="194444" y="59048"/>
                  <a:pt x="186854" y="62676"/>
                  <a:pt x="180603" y="69931"/>
                </a:cubicBezTo>
                <a:cubicBezTo>
                  <a:pt x="174352" y="77186"/>
                  <a:pt x="171227" y="87958"/>
                  <a:pt x="171227" y="102245"/>
                </a:cubicBezTo>
                <a:cubicBezTo>
                  <a:pt x="171227" y="117798"/>
                  <a:pt x="174315" y="129146"/>
                  <a:pt x="180492" y="136290"/>
                </a:cubicBezTo>
                <a:cubicBezTo>
                  <a:pt x="186668" y="143434"/>
                  <a:pt x="194407" y="147005"/>
                  <a:pt x="203709" y="147005"/>
                </a:cubicBezTo>
                <a:cubicBezTo>
                  <a:pt x="212936" y="147005"/>
                  <a:pt x="220675" y="143452"/>
                  <a:pt x="226926" y="136346"/>
                </a:cubicBezTo>
                <a:cubicBezTo>
                  <a:pt x="233177" y="129239"/>
                  <a:pt x="236302" y="118096"/>
                  <a:pt x="236302" y="102915"/>
                </a:cubicBezTo>
                <a:cubicBezTo>
                  <a:pt x="236302" y="88404"/>
                  <a:pt x="233084" y="77466"/>
                  <a:pt x="226647" y="70099"/>
                </a:cubicBezTo>
                <a:cubicBezTo>
                  <a:pt x="220210" y="62732"/>
                  <a:pt x="212452" y="59048"/>
                  <a:pt x="203374" y="59048"/>
                </a:cubicBezTo>
                <a:close/>
                <a:moveTo>
                  <a:pt x="340519" y="58936"/>
                </a:moveTo>
                <a:cubicBezTo>
                  <a:pt x="331292" y="58936"/>
                  <a:pt x="323534" y="62025"/>
                  <a:pt x="317246" y="68201"/>
                </a:cubicBezTo>
                <a:cubicBezTo>
                  <a:pt x="310958" y="74377"/>
                  <a:pt x="307479" y="82637"/>
                  <a:pt x="306809" y="92981"/>
                </a:cubicBezTo>
                <a:lnTo>
                  <a:pt x="373001" y="92981"/>
                </a:lnTo>
                <a:cubicBezTo>
                  <a:pt x="372108" y="83009"/>
                  <a:pt x="369578" y="75531"/>
                  <a:pt x="365411" y="70545"/>
                </a:cubicBezTo>
                <a:cubicBezTo>
                  <a:pt x="359011" y="62806"/>
                  <a:pt x="350714" y="58936"/>
                  <a:pt x="340519" y="58936"/>
                </a:cubicBezTo>
                <a:close/>
                <a:moveTo>
                  <a:pt x="732272" y="42417"/>
                </a:moveTo>
                <a:cubicBezTo>
                  <a:pt x="742392" y="42417"/>
                  <a:pt x="750615" y="43607"/>
                  <a:pt x="756940" y="45988"/>
                </a:cubicBezTo>
                <a:cubicBezTo>
                  <a:pt x="763265" y="48370"/>
                  <a:pt x="767916" y="51365"/>
                  <a:pt x="770893" y="54974"/>
                </a:cubicBezTo>
                <a:cubicBezTo>
                  <a:pt x="773869" y="58583"/>
                  <a:pt x="775953" y="63141"/>
                  <a:pt x="777143" y="68647"/>
                </a:cubicBezTo>
                <a:cubicBezTo>
                  <a:pt x="777813" y="72071"/>
                  <a:pt x="778148" y="78247"/>
                  <a:pt x="778148" y="87177"/>
                </a:cubicBezTo>
                <a:lnTo>
                  <a:pt x="778148" y="113966"/>
                </a:lnTo>
                <a:cubicBezTo>
                  <a:pt x="778148" y="132644"/>
                  <a:pt x="778576" y="144457"/>
                  <a:pt x="779432" y="149405"/>
                </a:cubicBezTo>
                <a:cubicBezTo>
                  <a:pt x="780287" y="154354"/>
                  <a:pt x="781980" y="159098"/>
                  <a:pt x="784510" y="163637"/>
                </a:cubicBezTo>
                <a:lnTo>
                  <a:pt x="763526" y="163637"/>
                </a:lnTo>
                <a:cubicBezTo>
                  <a:pt x="761442" y="159470"/>
                  <a:pt x="760103" y="154596"/>
                  <a:pt x="759507" y="149015"/>
                </a:cubicBezTo>
                <a:cubicBezTo>
                  <a:pt x="752066" y="155340"/>
                  <a:pt x="744904" y="159805"/>
                  <a:pt x="738020" y="162409"/>
                </a:cubicBezTo>
                <a:cubicBezTo>
                  <a:pt x="731137" y="165014"/>
                  <a:pt x="723751" y="166316"/>
                  <a:pt x="715864" y="166316"/>
                </a:cubicBezTo>
                <a:cubicBezTo>
                  <a:pt x="702841" y="166316"/>
                  <a:pt x="692832" y="163135"/>
                  <a:pt x="685838" y="156772"/>
                </a:cubicBezTo>
                <a:cubicBezTo>
                  <a:pt x="678843" y="150410"/>
                  <a:pt x="675345" y="142280"/>
                  <a:pt x="675345" y="132383"/>
                </a:cubicBezTo>
                <a:cubicBezTo>
                  <a:pt x="675345" y="126579"/>
                  <a:pt x="676666" y="121277"/>
                  <a:pt x="679308" y="116477"/>
                </a:cubicBezTo>
                <a:cubicBezTo>
                  <a:pt x="681949" y="111677"/>
                  <a:pt x="685410" y="107826"/>
                  <a:pt x="689688" y="104924"/>
                </a:cubicBezTo>
                <a:cubicBezTo>
                  <a:pt x="693967" y="102022"/>
                  <a:pt x="698786" y="99827"/>
                  <a:pt x="704143" y="98339"/>
                </a:cubicBezTo>
                <a:cubicBezTo>
                  <a:pt x="708087" y="97297"/>
                  <a:pt x="714040" y="96292"/>
                  <a:pt x="722003" y="95325"/>
                </a:cubicBezTo>
                <a:cubicBezTo>
                  <a:pt x="738225" y="93390"/>
                  <a:pt x="750168" y="91083"/>
                  <a:pt x="757833" y="88404"/>
                </a:cubicBezTo>
                <a:cubicBezTo>
                  <a:pt x="757908" y="85651"/>
                  <a:pt x="757945" y="83902"/>
                  <a:pt x="757945" y="83158"/>
                </a:cubicBezTo>
                <a:cubicBezTo>
                  <a:pt x="757945" y="74973"/>
                  <a:pt x="756047" y="69206"/>
                  <a:pt x="752252" y="65857"/>
                </a:cubicBezTo>
                <a:cubicBezTo>
                  <a:pt x="747117" y="61318"/>
                  <a:pt x="739490" y="59048"/>
                  <a:pt x="729370" y="59048"/>
                </a:cubicBezTo>
                <a:cubicBezTo>
                  <a:pt x="719919" y="59048"/>
                  <a:pt x="712943" y="60704"/>
                  <a:pt x="708441" y="64015"/>
                </a:cubicBezTo>
                <a:cubicBezTo>
                  <a:pt x="703939" y="67327"/>
                  <a:pt x="700609" y="73187"/>
                  <a:pt x="698451" y="81596"/>
                </a:cubicBezTo>
                <a:lnTo>
                  <a:pt x="678805" y="78917"/>
                </a:lnTo>
                <a:cubicBezTo>
                  <a:pt x="680591" y="70508"/>
                  <a:pt x="683531" y="63718"/>
                  <a:pt x="687623" y="58546"/>
                </a:cubicBezTo>
                <a:cubicBezTo>
                  <a:pt x="691716" y="53374"/>
                  <a:pt x="697632" y="49393"/>
                  <a:pt x="705371" y="46602"/>
                </a:cubicBezTo>
                <a:cubicBezTo>
                  <a:pt x="713110" y="43812"/>
                  <a:pt x="722077" y="42417"/>
                  <a:pt x="732272" y="42417"/>
                </a:cubicBezTo>
                <a:close/>
                <a:moveTo>
                  <a:pt x="471265" y="42417"/>
                </a:moveTo>
                <a:cubicBezTo>
                  <a:pt x="478408" y="42417"/>
                  <a:pt x="484975" y="43700"/>
                  <a:pt x="490966" y="46267"/>
                </a:cubicBezTo>
                <a:cubicBezTo>
                  <a:pt x="496956" y="48835"/>
                  <a:pt x="501439" y="52202"/>
                  <a:pt x="504416" y="56369"/>
                </a:cubicBezTo>
                <a:cubicBezTo>
                  <a:pt x="507393" y="60536"/>
                  <a:pt x="509476" y="65485"/>
                  <a:pt x="510667" y="71215"/>
                </a:cubicBezTo>
                <a:cubicBezTo>
                  <a:pt x="511411" y="74935"/>
                  <a:pt x="511783" y="81447"/>
                  <a:pt x="511783" y="90748"/>
                </a:cubicBezTo>
                <a:lnTo>
                  <a:pt x="511783" y="163637"/>
                </a:lnTo>
                <a:lnTo>
                  <a:pt x="491691" y="163637"/>
                </a:lnTo>
                <a:lnTo>
                  <a:pt x="491691" y="91530"/>
                </a:lnTo>
                <a:cubicBezTo>
                  <a:pt x="491691" y="83344"/>
                  <a:pt x="490910" y="77224"/>
                  <a:pt x="489347" y="73168"/>
                </a:cubicBezTo>
                <a:cubicBezTo>
                  <a:pt x="487784" y="69113"/>
                  <a:pt x="485013" y="65876"/>
                  <a:pt x="481031" y="63457"/>
                </a:cubicBezTo>
                <a:cubicBezTo>
                  <a:pt x="477050" y="61039"/>
                  <a:pt x="472381" y="59829"/>
                  <a:pt x="467023" y="59829"/>
                </a:cubicBezTo>
                <a:cubicBezTo>
                  <a:pt x="458465" y="59829"/>
                  <a:pt x="451080" y="62546"/>
                  <a:pt x="444866" y="67978"/>
                </a:cubicBezTo>
                <a:cubicBezTo>
                  <a:pt x="438653" y="73410"/>
                  <a:pt x="435546" y="83716"/>
                  <a:pt x="435546" y="98897"/>
                </a:cubicBezTo>
                <a:lnTo>
                  <a:pt x="435546" y="163637"/>
                </a:lnTo>
                <a:lnTo>
                  <a:pt x="415454" y="163637"/>
                </a:lnTo>
                <a:lnTo>
                  <a:pt x="415454" y="45095"/>
                </a:lnTo>
                <a:lnTo>
                  <a:pt x="433537" y="45095"/>
                </a:lnTo>
                <a:lnTo>
                  <a:pt x="433537" y="61950"/>
                </a:lnTo>
                <a:cubicBezTo>
                  <a:pt x="442243" y="48928"/>
                  <a:pt x="454819" y="42417"/>
                  <a:pt x="471265" y="42417"/>
                </a:cubicBezTo>
                <a:close/>
                <a:moveTo>
                  <a:pt x="340296" y="42417"/>
                </a:moveTo>
                <a:cubicBezTo>
                  <a:pt x="356146" y="42417"/>
                  <a:pt x="369094" y="47812"/>
                  <a:pt x="379140" y="58602"/>
                </a:cubicBezTo>
                <a:cubicBezTo>
                  <a:pt x="389186" y="69392"/>
                  <a:pt x="394209" y="84572"/>
                  <a:pt x="394209" y="104143"/>
                </a:cubicBezTo>
                <a:cubicBezTo>
                  <a:pt x="394209" y="105334"/>
                  <a:pt x="394172" y="107120"/>
                  <a:pt x="394097" y="109501"/>
                </a:cubicBezTo>
                <a:lnTo>
                  <a:pt x="305693" y="109501"/>
                </a:lnTo>
                <a:cubicBezTo>
                  <a:pt x="306437" y="122523"/>
                  <a:pt x="310121" y="132495"/>
                  <a:pt x="316744" y="139415"/>
                </a:cubicBezTo>
                <a:cubicBezTo>
                  <a:pt x="323367" y="146336"/>
                  <a:pt x="331627" y="149796"/>
                  <a:pt x="341524" y="149796"/>
                </a:cubicBezTo>
                <a:cubicBezTo>
                  <a:pt x="348891" y="149796"/>
                  <a:pt x="355179" y="147861"/>
                  <a:pt x="360388" y="143992"/>
                </a:cubicBezTo>
                <a:cubicBezTo>
                  <a:pt x="365597" y="140122"/>
                  <a:pt x="369727" y="133946"/>
                  <a:pt x="372778" y="125463"/>
                </a:cubicBezTo>
                <a:lnTo>
                  <a:pt x="393539" y="128030"/>
                </a:lnTo>
                <a:cubicBezTo>
                  <a:pt x="390265" y="140159"/>
                  <a:pt x="384200" y="149573"/>
                  <a:pt x="375345" y="156270"/>
                </a:cubicBezTo>
                <a:cubicBezTo>
                  <a:pt x="366490" y="162967"/>
                  <a:pt x="355179" y="166316"/>
                  <a:pt x="341412" y="166316"/>
                </a:cubicBezTo>
                <a:cubicBezTo>
                  <a:pt x="324074" y="166316"/>
                  <a:pt x="310326" y="160977"/>
                  <a:pt x="300168" y="150298"/>
                </a:cubicBezTo>
                <a:cubicBezTo>
                  <a:pt x="290011" y="139620"/>
                  <a:pt x="284932" y="124644"/>
                  <a:pt x="284932" y="105371"/>
                </a:cubicBezTo>
                <a:cubicBezTo>
                  <a:pt x="284932" y="85428"/>
                  <a:pt x="290066" y="69950"/>
                  <a:pt x="300335" y="58936"/>
                </a:cubicBezTo>
                <a:cubicBezTo>
                  <a:pt x="310605" y="47923"/>
                  <a:pt x="323925" y="42417"/>
                  <a:pt x="340296" y="42417"/>
                </a:cubicBezTo>
                <a:close/>
                <a:moveTo>
                  <a:pt x="201923" y="42417"/>
                </a:moveTo>
                <a:cubicBezTo>
                  <a:pt x="215913" y="42417"/>
                  <a:pt x="227447" y="48072"/>
                  <a:pt x="236525" y="59383"/>
                </a:cubicBezTo>
                <a:lnTo>
                  <a:pt x="236525" y="45095"/>
                </a:lnTo>
                <a:lnTo>
                  <a:pt x="255054" y="45095"/>
                </a:lnTo>
                <a:lnTo>
                  <a:pt x="255054" y="147564"/>
                </a:lnTo>
                <a:cubicBezTo>
                  <a:pt x="255054" y="166018"/>
                  <a:pt x="253176" y="179097"/>
                  <a:pt x="249418" y="186798"/>
                </a:cubicBezTo>
                <a:cubicBezTo>
                  <a:pt x="245660" y="194500"/>
                  <a:pt x="239707" y="200584"/>
                  <a:pt x="231558" y="205048"/>
                </a:cubicBezTo>
                <a:cubicBezTo>
                  <a:pt x="223410" y="209513"/>
                  <a:pt x="213383" y="211746"/>
                  <a:pt x="201476" y="211746"/>
                </a:cubicBezTo>
                <a:cubicBezTo>
                  <a:pt x="187338" y="211746"/>
                  <a:pt x="175915" y="208565"/>
                  <a:pt x="167209" y="202202"/>
                </a:cubicBezTo>
                <a:cubicBezTo>
                  <a:pt x="158502" y="195840"/>
                  <a:pt x="154298" y="186259"/>
                  <a:pt x="154596" y="173460"/>
                </a:cubicBezTo>
                <a:lnTo>
                  <a:pt x="174129" y="176362"/>
                </a:lnTo>
                <a:cubicBezTo>
                  <a:pt x="174948" y="182389"/>
                  <a:pt x="177217" y="186780"/>
                  <a:pt x="180938" y="189533"/>
                </a:cubicBezTo>
                <a:cubicBezTo>
                  <a:pt x="185924" y="193254"/>
                  <a:pt x="192733" y="195114"/>
                  <a:pt x="201365" y="195114"/>
                </a:cubicBezTo>
                <a:cubicBezTo>
                  <a:pt x="210667" y="195114"/>
                  <a:pt x="217847" y="193254"/>
                  <a:pt x="222908" y="189533"/>
                </a:cubicBezTo>
                <a:cubicBezTo>
                  <a:pt x="227968" y="185812"/>
                  <a:pt x="231391" y="180603"/>
                  <a:pt x="233177" y="173906"/>
                </a:cubicBezTo>
                <a:cubicBezTo>
                  <a:pt x="234219" y="169813"/>
                  <a:pt x="234702" y="161219"/>
                  <a:pt x="234628" y="148122"/>
                </a:cubicBezTo>
                <a:cubicBezTo>
                  <a:pt x="225847" y="158465"/>
                  <a:pt x="214908" y="163637"/>
                  <a:pt x="201811" y="163637"/>
                </a:cubicBezTo>
                <a:cubicBezTo>
                  <a:pt x="185515" y="163637"/>
                  <a:pt x="172901" y="157758"/>
                  <a:pt x="163972" y="146001"/>
                </a:cubicBezTo>
                <a:cubicBezTo>
                  <a:pt x="155042" y="134243"/>
                  <a:pt x="150577" y="120142"/>
                  <a:pt x="150577" y="103696"/>
                </a:cubicBezTo>
                <a:cubicBezTo>
                  <a:pt x="150577" y="92386"/>
                  <a:pt x="152624" y="81949"/>
                  <a:pt x="156716" y="72387"/>
                </a:cubicBezTo>
                <a:cubicBezTo>
                  <a:pt x="160809" y="62825"/>
                  <a:pt x="166744" y="55439"/>
                  <a:pt x="174520" y="50230"/>
                </a:cubicBezTo>
                <a:cubicBezTo>
                  <a:pt x="182296" y="45021"/>
                  <a:pt x="191430" y="42417"/>
                  <a:pt x="201923" y="42417"/>
                </a:cubicBezTo>
                <a:close/>
                <a:moveTo>
                  <a:pt x="74005" y="17190"/>
                </a:moveTo>
                <a:cubicBezTo>
                  <a:pt x="71921" y="27683"/>
                  <a:pt x="68982" y="38100"/>
                  <a:pt x="65187" y="48444"/>
                </a:cubicBezTo>
                <a:lnTo>
                  <a:pt x="47216" y="96441"/>
                </a:lnTo>
                <a:lnTo>
                  <a:pt x="102692" y="96441"/>
                </a:lnTo>
                <a:lnTo>
                  <a:pt x="85614" y="51123"/>
                </a:lnTo>
                <a:cubicBezTo>
                  <a:pt x="80405" y="37356"/>
                  <a:pt x="76535" y="26045"/>
                  <a:pt x="74005" y="17190"/>
                </a:cubicBezTo>
                <a:close/>
                <a:moveTo>
                  <a:pt x="624371" y="0"/>
                </a:moveTo>
                <a:lnTo>
                  <a:pt x="644352" y="0"/>
                </a:lnTo>
                <a:lnTo>
                  <a:pt x="644352" y="163637"/>
                </a:lnTo>
                <a:lnTo>
                  <a:pt x="625711" y="163637"/>
                </a:lnTo>
                <a:lnTo>
                  <a:pt x="625711" y="148680"/>
                </a:lnTo>
                <a:cubicBezTo>
                  <a:pt x="618195" y="160437"/>
                  <a:pt x="607145" y="166316"/>
                  <a:pt x="592559" y="166316"/>
                </a:cubicBezTo>
                <a:cubicBezTo>
                  <a:pt x="583109" y="166316"/>
                  <a:pt x="574421" y="163711"/>
                  <a:pt x="566496" y="158502"/>
                </a:cubicBezTo>
                <a:cubicBezTo>
                  <a:pt x="558571" y="153293"/>
                  <a:pt x="552432" y="146019"/>
                  <a:pt x="548078" y="136681"/>
                </a:cubicBezTo>
                <a:cubicBezTo>
                  <a:pt x="543725" y="127342"/>
                  <a:pt x="541549" y="116607"/>
                  <a:pt x="541549" y="104478"/>
                </a:cubicBezTo>
                <a:cubicBezTo>
                  <a:pt x="541549" y="92646"/>
                  <a:pt x="543521" y="81912"/>
                  <a:pt x="547465" y="72275"/>
                </a:cubicBezTo>
                <a:cubicBezTo>
                  <a:pt x="551409" y="62639"/>
                  <a:pt x="557324" y="55253"/>
                  <a:pt x="565212" y="50118"/>
                </a:cubicBezTo>
                <a:cubicBezTo>
                  <a:pt x="573100" y="44984"/>
                  <a:pt x="581918" y="42417"/>
                  <a:pt x="591667" y="42417"/>
                </a:cubicBezTo>
                <a:cubicBezTo>
                  <a:pt x="598810" y="42417"/>
                  <a:pt x="605173" y="43923"/>
                  <a:pt x="610754" y="46937"/>
                </a:cubicBezTo>
                <a:cubicBezTo>
                  <a:pt x="616335" y="49951"/>
                  <a:pt x="620874" y="53876"/>
                  <a:pt x="624371" y="58713"/>
                </a:cubicBezTo>
                <a:close/>
                <a:moveTo>
                  <a:pt x="62843" y="0"/>
                </a:moveTo>
                <a:lnTo>
                  <a:pt x="86172" y="0"/>
                </a:lnTo>
                <a:lnTo>
                  <a:pt x="153144" y="163637"/>
                </a:lnTo>
                <a:lnTo>
                  <a:pt x="128476" y="163637"/>
                </a:lnTo>
                <a:lnTo>
                  <a:pt x="109389" y="114077"/>
                </a:lnTo>
                <a:lnTo>
                  <a:pt x="40965" y="114077"/>
                </a:lnTo>
                <a:lnTo>
                  <a:pt x="22994" y="163637"/>
                </a:lnTo>
                <a:lnTo>
                  <a:pt x="0" y="16363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algn="ctr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1800" b="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de-DE" noProof="0"/>
          </a:p>
        </p:txBody>
      </p:sp>
      <p:sp>
        <p:nvSpPr>
          <p:cNvPr id="11" name="Google Shape;192;p37">
            <a:extLst>
              <a:ext uri="{FF2B5EF4-FFF2-40B4-BE49-F238E27FC236}">
                <a16:creationId xmlns:a16="http://schemas.microsoft.com/office/drawing/2014/main" id="{1DE45504-11DD-4AE5-9D58-228ADD011102}"/>
              </a:ext>
            </a:extLst>
          </p:cNvPr>
          <p:cNvSpPr/>
          <p:nvPr userDrawn="1"/>
        </p:nvSpPr>
        <p:spPr bwMode="gray">
          <a:xfrm>
            <a:off x="5232000" y="4868863"/>
            <a:ext cx="1731102" cy="142423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>
            <a:noFill/>
          </a:ln>
        </p:spPr>
        <p:txBody>
          <a:bodyPr spcFirstLastPara="1" wrap="square" lIns="91450" tIns="45700" rIns="91450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de-DE" sz="1800" noProof="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3869C199-7777-4DD5-A74D-6B4B6B0D6A5A}"/>
              </a:ext>
            </a:extLst>
          </p:cNvPr>
          <p:cNvSpPr>
            <a:spLocks noGrp="1"/>
          </p:cNvSpPr>
          <p:nvPr>
            <p:ph type="dt" sz="half" idx="14"/>
          </p:nvPr>
        </p:nvSpPr>
        <p:spPr bwMode="inv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C62A6E7-389E-4E89-A786-2259640CCAF9}" type="datetime1">
              <a:rPr lang="de-DE" noProof="0" smtClean="0"/>
              <a:t>22.10.2023</a:t>
            </a:fld>
            <a:endParaRPr lang="de-DE" noProof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94115067-4170-4AE6-BF5C-69E8138CF80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 bwMode="inv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/>
              <a:t>Commerzbank AG, Max Mustermann, GM-C Brand Management 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40BE1DB-AC6B-4E05-B638-3A67ABEEEEA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inv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AEFDB47-5D1C-45E7-8BD0-EF74349B00F7}" type="slidenum">
              <a:rPr lang="de-DE" noProof="0" smtClean="0"/>
              <a:pPr/>
              <a:t>‹#›</a:t>
            </a:fld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217725263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9A50A06-F1AD-43B0-B0C8-484379FAC66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336550" y="1412874"/>
            <a:ext cx="11520487" cy="3311525"/>
          </a:xfrm>
        </p:spPr>
        <p:txBody>
          <a:bodyPr rIns="0" bIns="144000" anchor="b"/>
          <a:lstStyle>
            <a:lvl1pPr algn="ctr">
              <a:defRPr sz="66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noProof="0" dirty="0"/>
              <a:t>Diese Folie </a:t>
            </a:r>
            <a:br>
              <a:rPr lang="de-DE" noProof="0" dirty="0"/>
            </a:br>
            <a:r>
              <a:rPr lang="de-DE" noProof="0" dirty="0"/>
              <a:t>dient zur Trennung </a:t>
            </a:r>
            <a:br>
              <a:rPr lang="de-DE" noProof="0" dirty="0"/>
            </a:br>
            <a:r>
              <a:rPr lang="de-DE" noProof="0" dirty="0"/>
              <a:t>zweier Kapitel.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95C52B9B-1FC0-4A8D-A22E-A6CDD925629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251200" y="5445000"/>
            <a:ext cx="5689116" cy="574675"/>
          </a:xfrm>
        </p:spPr>
        <p:txBody>
          <a:bodyPr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</a:defRPr>
            </a:lvl1pPr>
            <a:lvl2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</a:defRPr>
            </a:lvl2pPr>
            <a:lvl3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</a:defRPr>
            </a:lvl3pPr>
            <a:lvl4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</a:defRPr>
            </a:lvl4pPr>
            <a:lvl5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</a:defRPr>
            </a:lvl5pPr>
            <a:lvl6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</a:defRPr>
            </a:lvl6pPr>
            <a:lvl7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</a:defRPr>
            </a:lvl7pPr>
            <a:lvl8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</a:defRPr>
            </a:lvl8pPr>
            <a:lvl9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/>
              <a:t>Kapitel Nr. #</a:t>
            </a:r>
          </a:p>
          <a:p>
            <a:pPr lvl="1"/>
            <a:r>
              <a:rPr lang="de-DE" noProof="0" dirty="0"/>
              <a:t>Mastertextformat bearbeiten</a:t>
            </a:r>
          </a:p>
          <a:p>
            <a:pPr lvl="0"/>
            <a:endParaRPr lang="de-DE" noProof="0" dirty="0"/>
          </a:p>
        </p:txBody>
      </p:sp>
      <p:sp>
        <p:nvSpPr>
          <p:cNvPr id="12" name="Google Shape;192;p37">
            <a:extLst>
              <a:ext uri="{FF2B5EF4-FFF2-40B4-BE49-F238E27FC236}">
                <a16:creationId xmlns:a16="http://schemas.microsoft.com/office/drawing/2014/main" id="{A89D66A7-79C9-49DD-B8D8-7E63C48072E6}"/>
              </a:ext>
            </a:extLst>
          </p:cNvPr>
          <p:cNvSpPr/>
          <p:nvPr userDrawn="1"/>
        </p:nvSpPr>
        <p:spPr bwMode="invGray">
          <a:xfrm>
            <a:off x="5232000" y="4868863"/>
            <a:ext cx="1731102" cy="142423"/>
          </a:xfrm>
          <a:prstGeom prst="roundRect">
            <a:avLst>
              <a:gd name="adj" fmla="val 50000"/>
            </a:avLst>
          </a:prstGeom>
          <a:solidFill>
            <a:schemeClr val="tx1"/>
          </a:solidFill>
          <a:ln>
            <a:noFill/>
          </a:ln>
        </p:spPr>
        <p:txBody>
          <a:bodyPr spcFirstLastPara="1" wrap="square" lIns="91450" tIns="45700" rIns="91450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de-DE" sz="1800" noProof="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" name="Freihandform: Form 15">
            <a:extLst>
              <a:ext uri="{FF2B5EF4-FFF2-40B4-BE49-F238E27FC236}">
                <a16:creationId xmlns:a16="http://schemas.microsoft.com/office/drawing/2014/main" id="{5C3896E8-F4D3-489E-A816-530F0CB0C7A5}"/>
              </a:ext>
            </a:extLst>
          </p:cNvPr>
          <p:cNvSpPr>
            <a:spLocks/>
          </p:cNvSpPr>
          <p:nvPr userDrawn="1"/>
        </p:nvSpPr>
        <p:spPr bwMode="gray">
          <a:xfrm>
            <a:off x="11522271" y="260351"/>
            <a:ext cx="332854" cy="288924"/>
          </a:xfrm>
          <a:custGeom>
            <a:avLst/>
            <a:gdLst>
              <a:gd name="connsiteX0" fmla="*/ 22842 w 290316"/>
              <a:gd name="connsiteY0" fmla="*/ 173895 h 252000"/>
              <a:gd name="connsiteX1" fmla="*/ 33802 w 290316"/>
              <a:gd name="connsiteY1" fmla="*/ 177405 h 252000"/>
              <a:gd name="connsiteX2" fmla="*/ 53093 w 290316"/>
              <a:gd name="connsiteY2" fmla="*/ 181793 h 252000"/>
              <a:gd name="connsiteX3" fmla="*/ 78082 w 290316"/>
              <a:gd name="connsiteY3" fmla="*/ 183548 h 252000"/>
              <a:gd name="connsiteX4" fmla="*/ 145159 w 290316"/>
              <a:gd name="connsiteY4" fmla="*/ 183548 h 252000"/>
              <a:gd name="connsiteX5" fmla="*/ 212237 w 290316"/>
              <a:gd name="connsiteY5" fmla="*/ 183548 h 252000"/>
              <a:gd name="connsiteX6" fmla="*/ 222759 w 290316"/>
              <a:gd name="connsiteY6" fmla="*/ 183548 h 252000"/>
              <a:gd name="connsiteX7" fmla="*/ 227581 w 290316"/>
              <a:gd name="connsiteY7" fmla="*/ 197590 h 252000"/>
              <a:gd name="connsiteX8" fmla="*/ 231965 w 290316"/>
              <a:gd name="connsiteY8" fmla="*/ 227428 h 252000"/>
              <a:gd name="connsiteX9" fmla="*/ 225827 w 290316"/>
              <a:gd name="connsiteY9" fmla="*/ 246296 h 252000"/>
              <a:gd name="connsiteX10" fmla="*/ 222320 w 290316"/>
              <a:gd name="connsiteY10" fmla="*/ 252000 h 252000"/>
              <a:gd name="connsiteX11" fmla="*/ 145159 w 290316"/>
              <a:gd name="connsiteY11" fmla="*/ 252000 h 252000"/>
              <a:gd name="connsiteX12" fmla="*/ 67999 w 290316"/>
              <a:gd name="connsiteY12" fmla="*/ 252000 h 252000"/>
              <a:gd name="connsiteX13" fmla="*/ 22842 w 290316"/>
              <a:gd name="connsiteY13" fmla="*/ 173895 h 252000"/>
              <a:gd name="connsiteX14" fmla="*/ 206598 w 290316"/>
              <a:gd name="connsiteY14" fmla="*/ 0 h 252000"/>
              <a:gd name="connsiteX15" fmla="*/ 213173 w 290316"/>
              <a:gd name="connsiteY15" fmla="*/ 0 h 252000"/>
              <a:gd name="connsiteX16" fmla="*/ 290316 w 290316"/>
              <a:gd name="connsiteY16" fmla="*/ 133888 h 252000"/>
              <a:gd name="connsiteX17" fmla="*/ 245608 w 290316"/>
              <a:gd name="connsiteY17" fmla="*/ 212026 h 252000"/>
              <a:gd name="connsiteX18" fmla="*/ 243416 w 290316"/>
              <a:gd name="connsiteY18" fmla="*/ 200613 h 252000"/>
              <a:gd name="connsiteX19" fmla="*/ 237280 w 290316"/>
              <a:gd name="connsiteY19" fmla="*/ 181737 h 252000"/>
              <a:gd name="connsiteX20" fmla="*/ 226322 w 290316"/>
              <a:gd name="connsiteY20" fmla="*/ 158910 h 252000"/>
              <a:gd name="connsiteX21" fmla="*/ 193010 w 290316"/>
              <a:gd name="connsiteY21" fmla="*/ 100965 h 252000"/>
              <a:gd name="connsiteX22" fmla="*/ 159260 w 290316"/>
              <a:gd name="connsiteY22" fmla="*/ 43020 h 252000"/>
              <a:gd name="connsiteX23" fmla="*/ 154000 w 290316"/>
              <a:gd name="connsiteY23" fmla="*/ 33801 h 252000"/>
              <a:gd name="connsiteX24" fmla="*/ 163643 w 290316"/>
              <a:gd name="connsiteY24" fmla="*/ 22388 h 252000"/>
              <a:gd name="connsiteX25" fmla="*/ 187312 w 290316"/>
              <a:gd name="connsiteY25" fmla="*/ 3951 h 252000"/>
              <a:gd name="connsiteX26" fmla="*/ 206598 w 290316"/>
              <a:gd name="connsiteY26" fmla="*/ 0 h 252000"/>
              <a:gd name="connsiteX27" fmla="*/ 77181 w 290316"/>
              <a:gd name="connsiteY27" fmla="*/ 0 h 252000"/>
              <a:gd name="connsiteX28" fmla="*/ 167079 w 290316"/>
              <a:gd name="connsiteY28" fmla="*/ 0 h 252000"/>
              <a:gd name="connsiteX29" fmla="*/ 158308 w 290316"/>
              <a:gd name="connsiteY29" fmla="*/ 7901 h 252000"/>
              <a:gd name="connsiteX30" fmla="*/ 145153 w 290316"/>
              <a:gd name="connsiteY30" fmla="*/ 22386 h 252000"/>
              <a:gd name="connsiteX31" fmla="*/ 131120 w 290316"/>
              <a:gd name="connsiteY31" fmla="*/ 43016 h 252000"/>
              <a:gd name="connsiteX32" fmla="*/ 97353 w 290316"/>
              <a:gd name="connsiteY32" fmla="*/ 100956 h 252000"/>
              <a:gd name="connsiteX33" fmla="*/ 63586 w 290316"/>
              <a:gd name="connsiteY33" fmla="*/ 158896 h 252000"/>
              <a:gd name="connsiteX34" fmla="*/ 58763 w 290316"/>
              <a:gd name="connsiteY34" fmla="*/ 168553 h 252000"/>
              <a:gd name="connsiteX35" fmla="*/ 43853 w 290316"/>
              <a:gd name="connsiteY35" fmla="*/ 165480 h 252000"/>
              <a:gd name="connsiteX36" fmla="*/ 16226 w 290316"/>
              <a:gd name="connsiteY36" fmla="*/ 154068 h 252000"/>
              <a:gd name="connsiteX37" fmla="*/ 3070 w 290316"/>
              <a:gd name="connsiteY37" fmla="*/ 139583 h 252000"/>
              <a:gd name="connsiteX38" fmla="*/ 0 w 290316"/>
              <a:gd name="connsiteY38" fmla="*/ 133877 h 252000"/>
              <a:gd name="connsiteX39" fmla="*/ 2193 w 290316"/>
              <a:gd name="connsiteY39" fmla="*/ 129926 h 252000"/>
              <a:gd name="connsiteX40" fmla="*/ 77181 w 290316"/>
              <a:gd name="connsiteY40" fmla="*/ 0 h 25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290316" h="252000">
                <a:moveTo>
                  <a:pt x="22842" y="173895"/>
                </a:moveTo>
                <a:cubicBezTo>
                  <a:pt x="25911" y="175211"/>
                  <a:pt x="29857" y="176528"/>
                  <a:pt x="33802" y="177405"/>
                </a:cubicBezTo>
                <a:cubicBezTo>
                  <a:pt x="39063" y="178722"/>
                  <a:pt x="50024" y="181354"/>
                  <a:pt x="53093" y="181793"/>
                </a:cubicBezTo>
                <a:cubicBezTo>
                  <a:pt x="63176" y="183548"/>
                  <a:pt x="72383" y="183548"/>
                  <a:pt x="78082" y="183548"/>
                </a:cubicBezTo>
                <a:cubicBezTo>
                  <a:pt x="78082" y="183548"/>
                  <a:pt x="78082" y="183548"/>
                  <a:pt x="145159" y="183548"/>
                </a:cubicBezTo>
                <a:cubicBezTo>
                  <a:pt x="145159" y="183548"/>
                  <a:pt x="145159" y="183548"/>
                  <a:pt x="212237" y="183548"/>
                </a:cubicBezTo>
                <a:cubicBezTo>
                  <a:pt x="214867" y="183548"/>
                  <a:pt x="218374" y="183548"/>
                  <a:pt x="222759" y="183548"/>
                </a:cubicBezTo>
                <a:cubicBezTo>
                  <a:pt x="224512" y="188814"/>
                  <a:pt x="227581" y="197151"/>
                  <a:pt x="227581" y="197590"/>
                </a:cubicBezTo>
                <a:cubicBezTo>
                  <a:pt x="231527" y="208121"/>
                  <a:pt x="232842" y="218213"/>
                  <a:pt x="231965" y="227428"/>
                </a:cubicBezTo>
                <a:cubicBezTo>
                  <a:pt x="230650" y="236204"/>
                  <a:pt x="227581" y="242347"/>
                  <a:pt x="225827" y="246296"/>
                </a:cubicBezTo>
                <a:lnTo>
                  <a:pt x="222320" y="252000"/>
                </a:lnTo>
                <a:cubicBezTo>
                  <a:pt x="222320" y="252000"/>
                  <a:pt x="222320" y="252000"/>
                  <a:pt x="145159" y="252000"/>
                </a:cubicBezTo>
                <a:cubicBezTo>
                  <a:pt x="145159" y="252000"/>
                  <a:pt x="145159" y="252000"/>
                  <a:pt x="67999" y="252000"/>
                </a:cubicBezTo>
                <a:cubicBezTo>
                  <a:pt x="67999" y="252000"/>
                  <a:pt x="67999" y="252000"/>
                  <a:pt x="22842" y="173895"/>
                </a:cubicBezTo>
                <a:close/>
                <a:moveTo>
                  <a:pt x="206598" y="0"/>
                </a:moveTo>
                <a:cubicBezTo>
                  <a:pt x="206598" y="0"/>
                  <a:pt x="206598" y="0"/>
                  <a:pt x="213173" y="0"/>
                </a:cubicBezTo>
                <a:cubicBezTo>
                  <a:pt x="213173" y="0"/>
                  <a:pt x="213173" y="0"/>
                  <a:pt x="290316" y="133888"/>
                </a:cubicBezTo>
                <a:cubicBezTo>
                  <a:pt x="290316" y="133888"/>
                  <a:pt x="290316" y="133888"/>
                  <a:pt x="245608" y="212026"/>
                </a:cubicBezTo>
                <a:cubicBezTo>
                  <a:pt x="244731" y="208514"/>
                  <a:pt x="244293" y="204563"/>
                  <a:pt x="243416" y="200613"/>
                </a:cubicBezTo>
                <a:cubicBezTo>
                  <a:pt x="241663" y="195345"/>
                  <a:pt x="238157" y="184370"/>
                  <a:pt x="237280" y="181737"/>
                </a:cubicBezTo>
                <a:cubicBezTo>
                  <a:pt x="233773" y="172079"/>
                  <a:pt x="228952" y="164178"/>
                  <a:pt x="226322" y="158910"/>
                </a:cubicBezTo>
                <a:cubicBezTo>
                  <a:pt x="214926" y="139156"/>
                  <a:pt x="193010" y="100965"/>
                  <a:pt x="193010" y="100965"/>
                </a:cubicBezTo>
                <a:cubicBezTo>
                  <a:pt x="193010" y="100965"/>
                  <a:pt x="170656" y="62774"/>
                  <a:pt x="159260" y="43020"/>
                </a:cubicBezTo>
                <a:cubicBezTo>
                  <a:pt x="157945" y="40386"/>
                  <a:pt x="156192" y="37313"/>
                  <a:pt x="154000" y="33801"/>
                </a:cubicBezTo>
                <a:cubicBezTo>
                  <a:pt x="157507" y="29412"/>
                  <a:pt x="163205" y="23266"/>
                  <a:pt x="163643" y="22388"/>
                </a:cubicBezTo>
                <a:cubicBezTo>
                  <a:pt x="170656" y="14047"/>
                  <a:pt x="178984" y="7902"/>
                  <a:pt x="187312" y="3951"/>
                </a:cubicBezTo>
                <a:cubicBezTo>
                  <a:pt x="195202" y="878"/>
                  <a:pt x="202215" y="0"/>
                  <a:pt x="206598" y="0"/>
                </a:cubicBezTo>
                <a:close/>
                <a:moveTo>
                  <a:pt x="77181" y="0"/>
                </a:moveTo>
                <a:cubicBezTo>
                  <a:pt x="77181" y="0"/>
                  <a:pt x="77181" y="0"/>
                  <a:pt x="167079" y="0"/>
                </a:cubicBezTo>
                <a:cubicBezTo>
                  <a:pt x="164009" y="2195"/>
                  <a:pt x="161378" y="4828"/>
                  <a:pt x="158308" y="7901"/>
                </a:cubicBezTo>
                <a:cubicBezTo>
                  <a:pt x="154362" y="11412"/>
                  <a:pt x="147345" y="19752"/>
                  <a:pt x="145153" y="22386"/>
                </a:cubicBezTo>
                <a:cubicBezTo>
                  <a:pt x="138575" y="30287"/>
                  <a:pt x="133751" y="37749"/>
                  <a:pt x="131120" y="43016"/>
                </a:cubicBezTo>
                <a:cubicBezTo>
                  <a:pt x="119279" y="62768"/>
                  <a:pt x="97353" y="100956"/>
                  <a:pt x="97353" y="100956"/>
                </a:cubicBezTo>
                <a:cubicBezTo>
                  <a:pt x="97353" y="100956"/>
                  <a:pt x="75427" y="139144"/>
                  <a:pt x="63586" y="158896"/>
                </a:cubicBezTo>
                <a:cubicBezTo>
                  <a:pt x="62271" y="161530"/>
                  <a:pt x="60955" y="164603"/>
                  <a:pt x="58763" y="168553"/>
                </a:cubicBezTo>
                <a:cubicBezTo>
                  <a:pt x="53062" y="167236"/>
                  <a:pt x="44730" y="165919"/>
                  <a:pt x="43853" y="165480"/>
                </a:cubicBezTo>
                <a:cubicBezTo>
                  <a:pt x="32890" y="163725"/>
                  <a:pt x="23680" y="159774"/>
                  <a:pt x="16226" y="154068"/>
                </a:cubicBezTo>
                <a:cubicBezTo>
                  <a:pt x="9209" y="148801"/>
                  <a:pt x="5262" y="143095"/>
                  <a:pt x="3070" y="139583"/>
                </a:cubicBezTo>
                <a:cubicBezTo>
                  <a:pt x="3070" y="139583"/>
                  <a:pt x="3070" y="139583"/>
                  <a:pt x="0" y="133877"/>
                </a:cubicBezTo>
                <a:cubicBezTo>
                  <a:pt x="0" y="133877"/>
                  <a:pt x="0" y="133877"/>
                  <a:pt x="2193" y="129926"/>
                </a:cubicBezTo>
                <a:cubicBezTo>
                  <a:pt x="2193" y="129926"/>
                  <a:pt x="2193" y="129926"/>
                  <a:pt x="77181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de-DE" noProof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4E3DEDE0-3E07-4627-AD96-C6063050C4DB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483695CE-97E0-4CD6-B802-B15D02768A83}" type="datetime1">
              <a:rPr lang="de-DE" smtClean="0"/>
              <a:pPr/>
              <a:t>22.10.2023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BDF8C092-A49F-4DD6-8F20-B661BFC6918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Commerzbank AG, Anton Mattuschat, GS-TF 13 </a:t>
            </a:r>
            <a:r>
              <a:rPr lang="de-DE" dirty="0" err="1"/>
              <a:t>Operations</a:t>
            </a:r>
            <a:r>
              <a:rPr lang="de-DE" dirty="0"/>
              <a:t> &amp; </a:t>
            </a:r>
            <a:r>
              <a:rPr lang="de-DE" dirty="0" err="1"/>
              <a:t>Monetoring</a:t>
            </a:r>
            <a:r>
              <a:rPr lang="de-DE" dirty="0"/>
              <a:t> </a:t>
            </a:r>
            <a:endParaRPr lang="de-DE" noProof="0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681E0284-754D-4AA2-B034-1CF352966B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AEFDB47-5D1C-45E7-8BD0-EF74349B00F7}" type="slidenum">
              <a:rPr lang="de-DE" smtClean="0"/>
              <a:pPr/>
              <a:t>‹#›</a:t>
            </a:fld>
            <a:endParaRPr lang="de-DE" b="1" dirty="0"/>
          </a:p>
        </p:txBody>
      </p:sp>
    </p:spTree>
    <p:extLst>
      <p:ext uri="{BB962C8B-B14F-4D97-AF65-F5344CB8AC3E}">
        <p14:creationId xmlns:p14="http://schemas.microsoft.com/office/powerpoint/2010/main" val="1125617223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9A50A06-F1AD-43B0-B0C8-484379FAC66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336550" y="1412874"/>
            <a:ext cx="11520487" cy="3311525"/>
          </a:xfrm>
        </p:spPr>
        <p:txBody>
          <a:bodyPr rIns="0" bIns="144000" anchor="b"/>
          <a:lstStyle>
            <a:lvl1pPr algn="ctr">
              <a:defRPr sz="66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noProof="0" dirty="0"/>
              <a:t>Diese Folie </a:t>
            </a:r>
            <a:br>
              <a:rPr lang="de-DE" noProof="0" dirty="0"/>
            </a:br>
            <a:r>
              <a:rPr lang="de-DE" noProof="0" dirty="0"/>
              <a:t>dient zur Trennung </a:t>
            </a:r>
            <a:br>
              <a:rPr lang="de-DE" noProof="0" dirty="0"/>
            </a:br>
            <a:r>
              <a:rPr lang="de-DE" noProof="0" dirty="0"/>
              <a:t>zweier Kapitel.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95C52B9B-1FC0-4A8D-A22E-A6CDD925629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251200" y="5445000"/>
            <a:ext cx="5689116" cy="574675"/>
          </a:xfrm>
        </p:spPr>
        <p:txBody>
          <a:bodyPr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</a:defRPr>
            </a:lvl1pPr>
            <a:lvl2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</a:defRPr>
            </a:lvl2pPr>
            <a:lvl3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</a:defRPr>
            </a:lvl3pPr>
            <a:lvl4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</a:defRPr>
            </a:lvl4pPr>
            <a:lvl5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</a:defRPr>
            </a:lvl5pPr>
            <a:lvl6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</a:defRPr>
            </a:lvl6pPr>
            <a:lvl7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</a:defRPr>
            </a:lvl7pPr>
            <a:lvl8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</a:defRPr>
            </a:lvl8pPr>
            <a:lvl9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/>
              <a:t>Kapitel Nr. #</a:t>
            </a:r>
          </a:p>
          <a:p>
            <a:pPr lvl="1"/>
            <a:r>
              <a:rPr lang="de-DE" noProof="0" dirty="0"/>
              <a:t>Mastertextformat bearbeiten</a:t>
            </a:r>
          </a:p>
          <a:p>
            <a:pPr lvl="0"/>
            <a:endParaRPr lang="de-DE" noProof="0" dirty="0"/>
          </a:p>
        </p:txBody>
      </p:sp>
      <p:sp>
        <p:nvSpPr>
          <p:cNvPr id="12" name="Google Shape;192;p37">
            <a:extLst>
              <a:ext uri="{FF2B5EF4-FFF2-40B4-BE49-F238E27FC236}">
                <a16:creationId xmlns:a16="http://schemas.microsoft.com/office/drawing/2014/main" id="{A89D66A7-79C9-49DD-B8D8-7E63C48072E6}"/>
              </a:ext>
            </a:extLst>
          </p:cNvPr>
          <p:cNvSpPr/>
          <p:nvPr userDrawn="1"/>
        </p:nvSpPr>
        <p:spPr bwMode="invGray">
          <a:xfrm>
            <a:off x="5232000" y="4868863"/>
            <a:ext cx="1731102" cy="142423"/>
          </a:xfrm>
          <a:prstGeom prst="roundRect">
            <a:avLst>
              <a:gd name="adj" fmla="val 50000"/>
            </a:avLst>
          </a:prstGeom>
          <a:solidFill>
            <a:schemeClr val="tx1"/>
          </a:solidFill>
          <a:ln>
            <a:noFill/>
          </a:ln>
        </p:spPr>
        <p:txBody>
          <a:bodyPr spcFirstLastPara="1" wrap="square" lIns="91450" tIns="45700" rIns="91450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de-DE" sz="1800" noProof="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" name="Freihandform: Form 15">
            <a:extLst>
              <a:ext uri="{FF2B5EF4-FFF2-40B4-BE49-F238E27FC236}">
                <a16:creationId xmlns:a16="http://schemas.microsoft.com/office/drawing/2014/main" id="{5C3896E8-F4D3-489E-A816-530F0CB0C7A5}"/>
              </a:ext>
            </a:extLst>
          </p:cNvPr>
          <p:cNvSpPr>
            <a:spLocks/>
          </p:cNvSpPr>
          <p:nvPr userDrawn="1"/>
        </p:nvSpPr>
        <p:spPr bwMode="gray">
          <a:xfrm>
            <a:off x="11522271" y="260351"/>
            <a:ext cx="332854" cy="288924"/>
          </a:xfrm>
          <a:custGeom>
            <a:avLst/>
            <a:gdLst>
              <a:gd name="connsiteX0" fmla="*/ 22842 w 290316"/>
              <a:gd name="connsiteY0" fmla="*/ 173895 h 252000"/>
              <a:gd name="connsiteX1" fmla="*/ 33802 w 290316"/>
              <a:gd name="connsiteY1" fmla="*/ 177405 h 252000"/>
              <a:gd name="connsiteX2" fmla="*/ 53093 w 290316"/>
              <a:gd name="connsiteY2" fmla="*/ 181793 h 252000"/>
              <a:gd name="connsiteX3" fmla="*/ 78082 w 290316"/>
              <a:gd name="connsiteY3" fmla="*/ 183548 h 252000"/>
              <a:gd name="connsiteX4" fmla="*/ 145159 w 290316"/>
              <a:gd name="connsiteY4" fmla="*/ 183548 h 252000"/>
              <a:gd name="connsiteX5" fmla="*/ 212237 w 290316"/>
              <a:gd name="connsiteY5" fmla="*/ 183548 h 252000"/>
              <a:gd name="connsiteX6" fmla="*/ 222759 w 290316"/>
              <a:gd name="connsiteY6" fmla="*/ 183548 h 252000"/>
              <a:gd name="connsiteX7" fmla="*/ 227581 w 290316"/>
              <a:gd name="connsiteY7" fmla="*/ 197590 h 252000"/>
              <a:gd name="connsiteX8" fmla="*/ 231965 w 290316"/>
              <a:gd name="connsiteY8" fmla="*/ 227428 h 252000"/>
              <a:gd name="connsiteX9" fmla="*/ 225827 w 290316"/>
              <a:gd name="connsiteY9" fmla="*/ 246296 h 252000"/>
              <a:gd name="connsiteX10" fmla="*/ 222320 w 290316"/>
              <a:gd name="connsiteY10" fmla="*/ 252000 h 252000"/>
              <a:gd name="connsiteX11" fmla="*/ 145159 w 290316"/>
              <a:gd name="connsiteY11" fmla="*/ 252000 h 252000"/>
              <a:gd name="connsiteX12" fmla="*/ 67999 w 290316"/>
              <a:gd name="connsiteY12" fmla="*/ 252000 h 252000"/>
              <a:gd name="connsiteX13" fmla="*/ 22842 w 290316"/>
              <a:gd name="connsiteY13" fmla="*/ 173895 h 252000"/>
              <a:gd name="connsiteX14" fmla="*/ 206598 w 290316"/>
              <a:gd name="connsiteY14" fmla="*/ 0 h 252000"/>
              <a:gd name="connsiteX15" fmla="*/ 213173 w 290316"/>
              <a:gd name="connsiteY15" fmla="*/ 0 h 252000"/>
              <a:gd name="connsiteX16" fmla="*/ 290316 w 290316"/>
              <a:gd name="connsiteY16" fmla="*/ 133888 h 252000"/>
              <a:gd name="connsiteX17" fmla="*/ 245608 w 290316"/>
              <a:gd name="connsiteY17" fmla="*/ 212026 h 252000"/>
              <a:gd name="connsiteX18" fmla="*/ 243416 w 290316"/>
              <a:gd name="connsiteY18" fmla="*/ 200613 h 252000"/>
              <a:gd name="connsiteX19" fmla="*/ 237280 w 290316"/>
              <a:gd name="connsiteY19" fmla="*/ 181737 h 252000"/>
              <a:gd name="connsiteX20" fmla="*/ 226322 w 290316"/>
              <a:gd name="connsiteY20" fmla="*/ 158910 h 252000"/>
              <a:gd name="connsiteX21" fmla="*/ 193010 w 290316"/>
              <a:gd name="connsiteY21" fmla="*/ 100965 h 252000"/>
              <a:gd name="connsiteX22" fmla="*/ 159260 w 290316"/>
              <a:gd name="connsiteY22" fmla="*/ 43020 h 252000"/>
              <a:gd name="connsiteX23" fmla="*/ 154000 w 290316"/>
              <a:gd name="connsiteY23" fmla="*/ 33801 h 252000"/>
              <a:gd name="connsiteX24" fmla="*/ 163643 w 290316"/>
              <a:gd name="connsiteY24" fmla="*/ 22388 h 252000"/>
              <a:gd name="connsiteX25" fmla="*/ 187312 w 290316"/>
              <a:gd name="connsiteY25" fmla="*/ 3951 h 252000"/>
              <a:gd name="connsiteX26" fmla="*/ 206598 w 290316"/>
              <a:gd name="connsiteY26" fmla="*/ 0 h 252000"/>
              <a:gd name="connsiteX27" fmla="*/ 77181 w 290316"/>
              <a:gd name="connsiteY27" fmla="*/ 0 h 252000"/>
              <a:gd name="connsiteX28" fmla="*/ 167079 w 290316"/>
              <a:gd name="connsiteY28" fmla="*/ 0 h 252000"/>
              <a:gd name="connsiteX29" fmla="*/ 158308 w 290316"/>
              <a:gd name="connsiteY29" fmla="*/ 7901 h 252000"/>
              <a:gd name="connsiteX30" fmla="*/ 145153 w 290316"/>
              <a:gd name="connsiteY30" fmla="*/ 22386 h 252000"/>
              <a:gd name="connsiteX31" fmla="*/ 131120 w 290316"/>
              <a:gd name="connsiteY31" fmla="*/ 43016 h 252000"/>
              <a:gd name="connsiteX32" fmla="*/ 97353 w 290316"/>
              <a:gd name="connsiteY32" fmla="*/ 100956 h 252000"/>
              <a:gd name="connsiteX33" fmla="*/ 63586 w 290316"/>
              <a:gd name="connsiteY33" fmla="*/ 158896 h 252000"/>
              <a:gd name="connsiteX34" fmla="*/ 58763 w 290316"/>
              <a:gd name="connsiteY34" fmla="*/ 168553 h 252000"/>
              <a:gd name="connsiteX35" fmla="*/ 43853 w 290316"/>
              <a:gd name="connsiteY35" fmla="*/ 165480 h 252000"/>
              <a:gd name="connsiteX36" fmla="*/ 16226 w 290316"/>
              <a:gd name="connsiteY36" fmla="*/ 154068 h 252000"/>
              <a:gd name="connsiteX37" fmla="*/ 3070 w 290316"/>
              <a:gd name="connsiteY37" fmla="*/ 139583 h 252000"/>
              <a:gd name="connsiteX38" fmla="*/ 0 w 290316"/>
              <a:gd name="connsiteY38" fmla="*/ 133877 h 252000"/>
              <a:gd name="connsiteX39" fmla="*/ 2193 w 290316"/>
              <a:gd name="connsiteY39" fmla="*/ 129926 h 252000"/>
              <a:gd name="connsiteX40" fmla="*/ 77181 w 290316"/>
              <a:gd name="connsiteY40" fmla="*/ 0 h 25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290316" h="252000">
                <a:moveTo>
                  <a:pt x="22842" y="173895"/>
                </a:moveTo>
                <a:cubicBezTo>
                  <a:pt x="25911" y="175211"/>
                  <a:pt x="29857" y="176528"/>
                  <a:pt x="33802" y="177405"/>
                </a:cubicBezTo>
                <a:cubicBezTo>
                  <a:pt x="39063" y="178722"/>
                  <a:pt x="50024" y="181354"/>
                  <a:pt x="53093" y="181793"/>
                </a:cubicBezTo>
                <a:cubicBezTo>
                  <a:pt x="63176" y="183548"/>
                  <a:pt x="72383" y="183548"/>
                  <a:pt x="78082" y="183548"/>
                </a:cubicBezTo>
                <a:cubicBezTo>
                  <a:pt x="78082" y="183548"/>
                  <a:pt x="78082" y="183548"/>
                  <a:pt x="145159" y="183548"/>
                </a:cubicBezTo>
                <a:cubicBezTo>
                  <a:pt x="145159" y="183548"/>
                  <a:pt x="145159" y="183548"/>
                  <a:pt x="212237" y="183548"/>
                </a:cubicBezTo>
                <a:cubicBezTo>
                  <a:pt x="214867" y="183548"/>
                  <a:pt x="218374" y="183548"/>
                  <a:pt x="222759" y="183548"/>
                </a:cubicBezTo>
                <a:cubicBezTo>
                  <a:pt x="224512" y="188814"/>
                  <a:pt x="227581" y="197151"/>
                  <a:pt x="227581" y="197590"/>
                </a:cubicBezTo>
                <a:cubicBezTo>
                  <a:pt x="231527" y="208121"/>
                  <a:pt x="232842" y="218213"/>
                  <a:pt x="231965" y="227428"/>
                </a:cubicBezTo>
                <a:cubicBezTo>
                  <a:pt x="230650" y="236204"/>
                  <a:pt x="227581" y="242347"/>
                  <a:pt x="225827" y="246296"/>
                </a:cubicBezTo>
                <a:lnTo>
                  <a:pt x="222320" y="252000"/>
                </a:lnTo>
                <a:cubicBezTo>
                  <a:pt x="222320" y="252000"/>
                  <a:pt x="222320" y="252000"/>
                  <a:pt x="145159" y="252000"/>
                </a:cubicBezTo>
                <a:cubicBezTo>
                  <a:pt x="145159" y="252000"/>
                  <a:pt x="145159" y="252000"/>
                  <a:pt x="67999" y="252000"/>
                </a:cubicBezTo>
                <a:cubicBezTo>
                  <a:pt x="67999" y="252000"/>
                  <a:pt x="67999" y="252000"/>
                  <a:pt x="22842" y="173895"/>
                </a:cubicBezTo>
                <a:close/>
                <a:moveTo>
                  <a:pt x="206598" y="0"/>
                </a:moveTo>
                <a:cubicBezTo>
                  <a:pt x="206598" y="0"/>
                  <a:pt x="206598" y="0"/>
                  <a:pt x="213173" y="0"/>
                </a:cubicBezTo>
                <a:cubicBezTo>
                  <a:pt x="213173" y="0"/>
                  <a:pt x="213173" y="0"/>
                  <a:pt x="290316" y="133888"/>
                </a:cubicBezTo>
                <a:cubicBezTo>
                  <a:pt x="290316" y="133888"/>
                  <a:pt x="290316" y="133888"/>
                  <a:pt x="245608" y="212026"/>
                </a:cubicBezTo>
                <a:cubicBezTo>
                  <a:pt x="244731" y="208514"/>
                  <a:pt x="244293" y="204563"/>
                  <a:pt x="243416" y="200613"/>
                </a:cubicBezTo>
                <a:cubicBezTo>
                  <a:pt x="241663" y="195345"/>
                  <a:pt x="238157" y="184370"/>
                  <a:pt x="237280" y="181737"/>
                </a:cubicBezTo>
                <a:cubicBezTo>
                  <a:pt x="233773" y="172079"/>
                  <a:pt x="228952" y="164178"/>
                  <a:pt x="226322" y="158910"/>
                </a:cubicBezTo>
                <a:cubicBezTo>
                  <a:pt x="214926" y="139156"/>
                  <a:pt x="193010" y="100965"/>
                  <a:pt x="193010" y="100965"/>
                </a:cubicBezTo>
                <a:cubicBezTo>
                  <a:pt x="193010" y="100965"/>
                  <a:pt x="170656" y="62774"/>
                  <a:pt x="159260" y="43020"/>
                </a:cubicBezTo>
                <a:cubicBezTo>
                  <a:pt x="157945" y="40386"/>
                  <a:pt x="156192" y="37313"/>
                  <a:pt x="154000" y="33801"/>
                </a:cubicBezTo>
                <a:cubicBezTo>
                  <a:pt x="157507" y="29412"/>
                  <a:pt x="163205" y="23266"/>
                  <a:pt x="163643" y="22388"/>
                </a:cubicBezTo>
                <a:cubicBezTo>
                  <a:pt x="170656" y="14047"/>
                  <a:pt x="178984" y="7902"/>
                  <a:pt x="187312" y="3951"/>
                </a:cubicBezTo>
                <a:cubicBezTo>
                  <a:pt x="195202" y="878"/>
                  <a:pt x="202215" y="0"/>
                  <a:pt x="206598" y="0"/>
                </a:cubicBezTo>
                <a:close/>
                <a:moveTo>
                  <a:pt x="77181" y="0"/>
                </a:moveTo>
                <a:cubicBezTo>
                  <a:pt x="77181" y="0"/>
                  <a:pt x="77181" y="0"/>
                  <a:pt x="167079" y="0"/>
                </a:cubicBezTo>
                <a:cubicBezTo>
                  <a:pt x="164009" y="2195"/>
                  <a:pt x="161378" y="4828"/>
                  <a:pt x="158308" y="7901"/>
                </a:cubicBezTo>
                <a:cubicBezTo>
                  <a:pt x="154362" y="11412"/>
                  <a:pt x="147345" y="19752"/>
                  <a:pt x="145153" y="22386"/>
                </a:cubicBezTo>
                <a:cubicBezTo>
                  <a:pt x="138575" y="30287"/>
                  <a:pt x="133751" y="37749"/>
                  <a:pt x="131120" y="43016"/>
                </a:cubicBezTo>
                <a:cubicBezTo>
                  <a:pt x="119279" y="62768"/>
                  <a:pt x="97353" y="100956"/>
                  <a:pt x="97353" y="100956"/>
                </a:cubicBezTo>
                <a:cubicBezTo>
                  <a:pt x="97353" y="100956"/>
                  <a:pt x="75427" y="139144"/>
                  <a:pt x="63586" y="158896"/>
                </a:cubicBezTo>
                <a:cubicBezTo>
                  <a:pt x="62271" y="161530"/>
                  <a:pt x="60955" y="164603"/>
                  <a:pt x="58763" y="168553"/>
                </a:cubicBezTo>
                <a:cubicBezTo>
                  <a:pt x="53062" y="167236"/>
                  <a:pt x="44730" y="165919"/>
                  <a:pt x="43853" y="165480"/>
                </a:cubicBezTo>
                <a:cubicBezTo>
                  <a:pt x="32890" y="163725"/>
                  <a:pt x="23680" y="159774"/>
                  <a:pt x="16226" y="154068"/>
                </a:cubicBezTo>
                <a:cubicBezTo>
                  <a:pt x="9209" y="148801"/>
                  <a:pt x="5262" y="143095"/>
                  <a:pt x="3070" y="139583"/>
                </a:cubicBezTo>
                <a:cubicBezTo>
                  <a:pt x="3070" y="139583"/>
                  <a:pt x="3070" y="139583"/>
                  <a:pt x="0" y="133877"/>
                </a:cubicBezTo>
                <a:cubicBezTo>
                  <a:pt x="0" y="133877"/>
                  <a:pt x="0" y="133877"/>
                  <a:pt x="2193" y="129926"/>
                </a:cubicBezTo>
                <a:cubicBezTo>
                  <a:pt x="2193" y="129926"/>
                  <a:pt x="2193" y="129926"/>
                  <a:pt x="77181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de-DE" noProof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4E3DEDE0-3E07-4627-AD96-C6063050C4DB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483695CE-97E0-4CD6-B802-B15D02768A83}" type="datetime1">
              <a:rPr lang="de-DE" smtClean="0"/>
              <a:pPr/>
              <a:t>22.10.2023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BDF8C092-A49F-4DD6-8F20-B661BFC6918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Commerzbank AG, Max Mustermann, GM-C Brand Management 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681E0284-754D-4AA2-B034-1CF352966B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AEFDB47-5D1C-45E7-8BD0-EF74349B00F7}" type="slidenum">
              <a:rPr lang="de-DE" smtClean="0"/>
              <a:pPr/>
              <a:t>‹#›</a:t>
            </a:fld>
            <a:endParaRPr lang="de-DE" b="1" dirty="0"/>
          </a:p>
        </p:txBody>
      </p:sp>
    </p:spTree>
    <p:extLst>
      <p:ext uri="{BB962C8B-B14F-4D97-AF65-F5344CB8AC3E}">
        <p14:creationId xmlns:p14="http://schemas.microsoft.com/office/powerpoint/2010/main" val="1713209817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vider Petrol / Imag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9A50A06-F1AD-43B0-B0C8-484379FAC66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invGray">
          <a:xfrm>
            <a:off x="336550" y="1412874"/>
            <a:ext cx="11520488" cy="3311525"/>
          </a:xfrm>
        </p:spPr>
        <p:txBody>
          <a:bodyPr rIns="0" bIns="144000" anchor="b"/>
          <a:lstStyle>
            <a:lvl1pPr algn="ctr">
              <a:defRPr sz="6600">
                <a:solidFill>
                  <a:schemeClr val="bg1"/>
                </a:solidFill>
              </a:defRPr>
            </a:lvl1pPr>
          </a:lstStyle>
          <a:p>
            <a:r>
              <a:rPr lang="de-DE" noProof="0"/>
              <a:t>Diese Folie </a:t>
            </a:r>
            <a:br>
              <a:rPr lang="de-DE" noProof="0"/>
            </a:br>
            <a:r>
              <a:rPr lang="de-DE" noProof="0"/>
              <a:t>dient zur Trennung </a:t>
            </a:r>
            <a:br>
              <a:rPr lang="de-DE" noProof="0"/>
            </a:br>
            <a:r>
              <a:rPr lang="de-DE" noProof="0"/>
              <a:t>zweier Kapitel.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95C52B9B-1FC0-4A8D-A22E-A6CDD925629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invGray">
          <a:xfrm>
            <a:off x="3251684" y="5445000"/>
            <a:ext cx="5689116" cy="574675"/>
          </a:xfrm>
        </p:spPr>
        <p:txBody>
          <a:bodyPr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bg1"/>
                </a:solidFill>
              </a:defRPr>
            </a:lvl1pPr>
            <a:lvl2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bg1"/>
                </a:solidFill>
              </a:defRPr>
            </a:lvl2pPr>
            <a:lvl3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bg1"/>
                </a:solidFill>
              </a:defRPr>
            </a:lvl3pPr>
            <a:lvl4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bg1"/>
                </a:solidFill>
              </a:defRPr>
            </a:lvl4pPr>
            <a:lvl5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bg1"/>
                </a:solidFill>
              </a:defRPr>
            </a:lvl5pPr>
            <a:lvl6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bg1"/>
                </a:solidFill>
              </a:defRPr>
            </a:lvl6pPr>
            <a:lvl7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bg1"/>
                </a:solidFill>
              </a:defRPr>
            </a:lvl7pPr>
            <a:lvl8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bg1"/>
                </a:solidFill>
              </a:defRPr>
            </a:lvl8pPr>
            <a:lvl9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Kapitel Nr. #</a:t>
            </a:r>
          </a:p>
          <a:p>
            <a:pPr lvl="0"/>
            <a:r>
              <a:rPr lang="de-DE" noProof="0" dirty="0"/>
              <a:t>Mastertextformat bearbeiten</a:t>
            </a:r>
          </a:p>
        </p:txBody>
      </p:sp>
      <p:sp>
        <p:nvSpPr>
          <p:cNvPr id="12" name="Google Shape;192;p37">
            <a:extLst>
              <a:ext uri="{FF2B5EF4-FFF2-40B4-BE49-F238E27FC236}">
                <a16:creationId xmlns:a16="http://schemas.microsoft.com/office/drawing/2014/main" id="{A89D66A7-79C9-49DD-B8D8-7E63C48072E6}"/>
              </a:ext>
            </a:extLst>
          </p:cNvPr>
          <p:cNvSpPr/>
          <p:nvPr userDrawn="1"/>
        </p:nvSpPr>
        <p:spPr bwMode="gray">
          <a:xfrm>
            <a:off x="5232000" y="4868863"/>
            <a:ext cx="1731102" cy="142423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>
            <a:noFill/>
          </a:ln>
        </p:spPr>
        <p:txBody>
          <a:bodyPr spcFirstLastPara="1" wrap="square" lIns="91450" tIns="45700" rIns="91450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de-DE" sz="1800" noProof="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BBD31473-88F9-4CEE-AEF0-7B7AB8363EA6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inv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C726666-1F32-421F-8735-82C38FEE1D17}" type="datetime1">
              <a:rPr lang="de-DE" noProof="0" smtClean="0"/>
              <a:t>22.10.2023</a:t>
            </a:fld>
            <a:endParaRPr lang="de-DE" noProof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0676F9B-52E6-466E-9EB1-5E81CDC2302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inv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/>
              <a:t>Commerzbank AG, Max Mustermann, GM-C Brand Management 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5FE0B6A-A753-45D4-9CE4-04A49176BE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inv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AEFDB47-5D1C-45E7-8BD0-EF74349B00F7}" type="slidenum">
              <a:rPr lang="de-DE" noProof="0" smtClean="0"/>
              <a:pPr/>
              <a:t>‹#›</a:t>
            </a:fld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1926714141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chapt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9A50A06-F1AD-43B0-B0C8-484379FAC66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336550" y="1412874"/>
            <a:ext cx="11520487" cy="3311525"/>
          </a:xfrm>
        </p:spPr>
        <p:txBody>
          <a:bodyPr rIns="0" bIns="144000" anchor="b"/>
          <a:lstStyle>
            <a:lvl1pPr algn="ctr">
              <a:defRPr sz="6600"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Diese Folie </a:t>
            </a:r>
            <a:br>
              <a:rPr lang="de-DE" noProof="0"/>
            </a:br>
            <a:r>
              <a:rPr lang="de-DE" noProof="0"/>
              <a:t>dient zur Trennung </a:t>
            </a:r>
            <a:br>
              <a:rPr lang="de-DE" noProof="0"/>
            </a:br>
            <a:r>
              <a:rPr lang="de-DE" noProof="0"/>
              <a:t>zweier Kapitel.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95C52B9B-1FC0-4A8D-A22E-A6CDD925629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251200" y="5445000"/>
            <a:ext cx="5689116" cy="574675"/>
          </a:xfrm>
        </p:spPr>
        <p:txBody>
          <a:bodyPr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</a:defRPr>
            </a:lvl1pPr>
            <a:lvl2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accent1"/>
                </a:solidFill>
              </a:defRPr>
            </a:lvl2pPr>
            <a:lvl3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accent1"/>
                </a:solidFill>
              </a:defRPr>
            </a:lvl3pPr>
            <a:lvl4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accent1"/>
                </a:solidFill>
              </a:defRPr>
            </a:lvl4pPr>
            <a:lvl5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accent1"/>
                </a:solidFill>
              </a:defRPr>
            </a:lvl5pPr>
            <a:lvl6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accent1"/>
                </a:solidFill>
              </a:defRPr>
            </a:lvl6pPr>
            <a:lvl7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accent1"/>
                </a:solidFill>
              </a:defRPr>
            </a:lvl7pPr>
            <a:lvl8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accent1"/>
                </a:solidFill>
              </a:defRPr>
            </a:lvl8pPr>
            <a:lvl9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de-DE" noProof="0"/>
              <a:t>Kapitel Nr. #</a:t>
            </a:r>
          </a:p>
          <a:p>
            <a:pPr lvl="0"/>
            <a:r>
              <a:rPr lang="de-DE" noProof="0"/>
              <a:t>Mastertextformat bearbeiten</a:t>
            </a:r>
          </a:p>
          <a:p>
            <a:endParaRPr lang="de-DE" noProof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4E3DEDE0-3E07-4627-AD96-C6063050C4DB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483695CE-97E0-4CD6-B802-B15D02768A83}" type="datetime1">
              <a:rPr lang="de-DE" noProof="0" smtClean="0"/>
              <a:t>22.10.2023</a:t>
            </a:fld>
            <a:endParaRPr lang="de-DE" sz="800" noProof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BDF8C092-A49F-4DD6-8F20-B661BFC6918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pPr algn="ctr"/>
            <a:r>
              <a:rPr lang="de-DE" noProof="0"/>
              <a:t>Commerzbank AG, Max Mustermann, GM-C Brand Management 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681E0284-754D-4AA2-B034-1CF352966B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CAEFDB47-5D1C-45E7-8BD0-EF74349B00F7}" type="slidenum">
              <a:rPr lang="de-DE" noProof="0" smtClean="0"/>
              <a:pPr/>
              <a:t>‹#›</a:t>
            </a:fld>
            <a:endParaRPr lang="de-DE" b="1" noProof="0"/>
          </a:p>
        </p:txBody>
      </p:sp>
      <p:sp>
        <p:nvSpPr>
          <p:cNvPr id="9" name="Google Shape;192;p37">
            <a:extLst>
              <a:ext uri="{FF2B5EF4-FFF2-40B4-BE49-F238E27FC236}">
                <a16:creationId xmlns:a16="http://schemas.microsoft.com/office/drawing/2014/main" id="{6BEF86A6-4188-418C-9CCC-F9615322F4D4}"/>
              </a:ext>
            </a:extLst>
          </p:cNvPr>
          <p:cNvSpPr/>
          <p:nvPr userDrawn="1"/>
        </p:nvSpPr>
        <p:spPr bwMode="gray">
          <a:xfrm>
            <a:off x="5232000" y="4868863"/>
            <a:ext cx="1731102" cy="142423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>
            <a:noFill/>
          </a:ln>
        </p:spPr>
        <p:txBody>
          <a:bodyPr spcFirstLastPara="1" wrap="square" lIns="91450" tIns="45700" rIns="91450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de-DE" sz="1800" noProof="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183056839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2A91C57D-0163-4143-8F9B-841FA758B9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94444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2A91C57D-0163-4143-8F9B-841FA758B9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B791BBA6-21FB-476D-917A-6AD66B6FA606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de-DE" noProof="0" dirty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9671DDE5-237D-488D-8361-D82FE9E2FA41}"/>
              </a:ext>
            </a:extLst>
          </p:cNvPr>
          <p:cNvSpPr>
            <a:spLocks noGrp="1"/>
          </p:cNvSpPr>
          <p:nvPr>
            <p:ph type="dt" sz="half" idx="18"/>
          </p:nvPr>
        </p:nvSpPr>
        <p:spPr bwMode="gray"/>
        <p:txBody>
          <a:bodyPr/>
          <a:lstStyle/>
          <a:p>
            <a:fld id="{8CE7C704-0CF5-48D2-9F6E-1BFEAD408EDD}" type="datetime1">
              <a:rPr lang="de-DE" noProof="0" smtClean="0"/>
              <a:t>22.10.2023</a:t>
            </a:fld>
            <a:endParaRPr lang="de-DE" sz="800" noProof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F3E06A32-B2D9-41C6-BFF1-11EC8ABCC24A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 bwMode="gray"/>
        <p:txBody>
          <a:bodyPr/>
          <a:lstStyle/>
          <a:p>
            <a:pPr algn="ctr"/>
            <a:r>
              <a:rPr lang="de-DE" noProof="0"/>
              <a:t>Commerzbank AG, Max Mustermann, GM-C Brand Management 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7ECBDD58-EB8B-45A7-A68A-501642F55627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 bwMode="gray"/>
        <p:txBody>
          <a:bodyPr/>
          <a:lstStyle/>
          <a:p>
            <a:fld id="{CAEFDB47-5D1C-45E7-8BD0-EF74349B00F7}" type="slidenum">
              <a:rPr lang="de-DE" noProof="0" smtClean="0"/>
              <a:pPr/>
              <a:t>‹#›</a:t>
            </a:fld>
            <a:endParaRPr lang="de-DE" b="1" noProof="0"/>
          </a:p>
        </p:txBody>
      </p:sp>
    </p:spTree>
    <p:extLst>
      <p:ext uri="{BB962C8B-B14F-4D97-AF65-F5344CB8AC3E}">
        <p14:creationId xmlns:p14="http://schemas.microsoft.com/office/powerpoint/2010/main" val="446494079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2A91C57D-0163-4143-8F9B-841FA758B9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831009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2A91C57D-0163-4143-8F9B-841FA758B9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B791BBA6-21FB-476D-917A-6AD66B6FA606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de-DE" noProof="0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6010CC23-23F4-43A4-B221-175BB62626C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>
          <a:xfrm>
            <a:off x="336550" y="1411288"/>
            <a:ext cx="7631106" cy="5041901"/>
          </a:xfrm>
        </p:spPr>
        <p:txBody>
          <a:bodyPr rIns="144000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de-DE" noProof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9671DDE5-237D-488D-8361-D82FE9E2FA41}"/>
              </a:ext>
            </a:extLst>
          </p:cNvPr>
          <p:cNvSpPr>
            <a:spLocks noGrp="1"/>
          </p:cNvSpPr>
          <p:nvPr>
            <p:ph type="dt" sz="half" idx="18"/>
          </p:nvPr>
        </p:nvSpPr>
        <p:spPr bwMode="gray"/>
        <p:txBody>
          <a:bodyPr/>
          <a:lstStyle/>
          <a:p>
            <a:fld id="{8CE7C704-0CF5-48D2-9F6E-1BFEAD408EDD}" type="datetime1">
              <a:rPr lang="de-DE" noProof="0" smtClean="0"/>
              <a:t>22.10.2023</a:t>
            </a:fld>
            <a:endParaRPr lang="de-DE" sz="800" noProof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F3E06A32-B2D9-41C6-BFF1-11EC8ABCC24A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 bwMode="gray"/>
        <p:txBody>
          <a:bodyPr/>
          <a:lstStyle/>
          <a:p>
            <a:pPr algn="ctr"/>
            <a:r>
              <a:rPr lang="de-DE" noProof="0"/>
              <a:t>Commerzbank AG, Max Mustermann, GM-C Brand Management 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7ECBDD58-EB8B-45A7-A68A-501642F55627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 bwMode="gray"/>
        <p:txBody>
          <a:bodyPr/>
          <a:lstStyle/>
          <a:p>
            <a:fld id="{CAEFDB47-5D1C-45E7-8BD0-EF74349B00F7}" type="slidenum">
              <a:rPr lang="de-DE" noProof="0" smtClean="0"/>
              <a:pPr/>
              <a:t>‹#›</a:t>
            </a:fld>
            <a:endParaRPr lang="de-DE" b="1" noProof="0"/>
          </a:p>
        </p:txBody>
      </p:sp>
    </p:spTree>
    <p:extLst>
      <p:ext uri="{BB962C8B-B14F-4D97-AF65-F5344CB8AC3E}">
        <p14:creationId xmlns:p14="http://schemas.microsoft.com/office/powerpoint/2010/main" val="891601863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x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2A91C57D-0163-4143-8F9B-841FA758B9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338038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2A91C57D-0163-4143-8F9B-841FA758B9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B791BBA6-21FB-476D-917A-6AD66B6FA606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de-DE" noProof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EFA860A-0783-485F-9EA6-396743BDF5B9}"/>
              </a:ext>
            </a:extLst>
          </p:cNvPr>
          <p:cNvSpPr>
            <a:spLocks noGrp="1"/>
          </p:cNvSpPr>
          <p:nvPr>
            <p:ph type="dt" sz="half" idx="19"/>
          </p:nvPr>
        </p:nvSpPr>
        <p:spPr bwMode="gray"/>
        <p:txBody>
          <a:bodyPr/>
          <a:lstStyle/>
          <a:p>
            <a:fld id="{1124C121-E365-46E6-A2E1-F2BA80CA9251}" type="datetime1">
              <a:rPr lang="de-DE" noProof="0" smtClean="0"/>
              <a:t>22.10.2023</a:t>
            </a:fld>
            <a:endParaRPr lang="de-DE" sz="800" noProof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BAC370CD-5645-4A0E-9F7D-68A2A121CDBC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 bwMode="gray"/>
        <p:txBody>
          <a:bodyPr/>
          <a:lstStyle/>
          <a:p>
            <a:pPr algn="ctr"/>
            <a:r>
              <a:rPr lang="de-DE" noProof="0"/>
              <a:t>Commerzbank AG, Max Mustermann, GM-C Brand Management 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5EBB456-7637-44EE-BC10-4EB314D3ADD4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 bwMode="gray"/>
        <p:txBody>
          <a:bodyPr/>
          <a:lstStyle/>
          <a:p>
            <a:fld id="{CAEFDB47-5D1C-45E7-8BD0-EF74349B00F7}" type="slidenum">
              <a:rPr lang="de-DE" noProof="0" smtClean="0"/>
              <a:pPr/>
              <a:t>‹#›</a:t>
            </a:fld>
            <a:endParaRPr lang="de-DE" b="1" noProof="0"/>
          </a:p>
        </p:txBody>
      </p:sp>
      <p:sp>
        <p:nvSpPr>
          <p:cNvPr id="9" name="Textplatzhalter 14">
            <a:extLst>
              <a:ext uri="{FF2B5EF4-FFF2-40B4-BE49-F238E27FC236}">
                <a16:creationId xmlns:a16="http://schemas.microsoft.com/office/drawing/2014/main" id="{DCABA094-C500-47C0-BACF-FF45F71D07A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>
          <a:xfrm>
            <a:off x="336550" y="1411288"/>
            <a:ext cx="5689116" cy="5041901"/>
          </a:xfrm>
        </p:spPr>
        <p:txBody>
          <a:bodyPr rIns="144000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de-DE" noProof="0"/>
          </a:p>
        </p:txBody>
      </p:sp>
      <p:sp>
        <p:nvSpPr>
          <p:cNvPr id="10" name="Textplatzhalter 14">
            <a:extLst>
              <a:ext uri="{FF2B5EF4-FFF2-40B4-BE49-F238E27FC236}">
                <a16:creationId xmlns:a16="http://schemas.microsoft.com/office/drawing/2014/main" id="{3C7CA0A3-BDD9-4786-8889-58A40E7C518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 bwMode="gray">
          <a:xfrm>
            <a:off x="6166333" y="1411288"/>
            <a:ext cx="5689116" cy="5041901"/>
          </a:xfrm>
        </p:spPr>
        <p:txBody>
          <a:bodyPr rIns="144000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1320241208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x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2A91C57D-0163-4143-8F9B-841FA758B9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228388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2A91C57D-0163-4143-8F9B-841FA758B9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B791BBA6-21FB-476D-917A-6AD66B6FA606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de-DE" noProof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D5F01BF3-5E3B-4F8E-AB3B-E070AB6B021B}"/>
              </a:ext>
            </a:extLst>
          </p:cNvPr>
          <p:cNvSpPr>
            <a:spLocks noGrp="1"/>
          </p:cNvSpPr>
          <p:nvPr>
            <p:ph type="dt" sz="half" idx="20"/>
          </p:nvPr>
        </p:nvSpPr>
        <p:spPr bwMode="gray"/>
        <p:txBody>
          <a:bodyPr/>
          <a:lstStyle/>
          <a:p>
            <a:fld id="{5659092B-5EC5-45CE-A115-0F090189DDFE}" type="datetime1">
              <a:rPr lang="de-DE" noProof="0" smtClean="0"/>
              <a:t>22.10.2023</a:t>
            </a:fld>
            <a:endParaRPr lang="de-DE" sz="800" noProof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AC1E8F5-1397-40A5-BFBE-A95E21862C6B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 bwMode="gray"/>
        <p:txBody>
          <a:bodyPr/>
          <a:lstStyle/>
          <a:p>
            <a:pPr algn="ctr"/>
            <a:r>
              <a:rPr lang="de-DE" noProof="0"/>
              <a:t>Commerzbank AG, Max Mustermann, GM-C Brand Management 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6A15F1C2-5BA9-4DB4-96CD-50E2D6AFA0EE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 bwMode="gray"/>
        <p:txBody>
          <a:bodyPr/>
          <a:lstStyle/>
          <a:p>
            <a:fld id="{CAEFDB47-5D1C-45E7-8BD0-EF74349B00F7}" type="slidenum">
              <a:rPr lang="de-DE" noProof="0" smtClean="0"/>
              <a:pPr/>
              <a:t>‹#›</a:t>
            </a:fld>
            <a:endParaRPr lang="de-DE" b="1" noProof="0"/>
          </a:p>
        </p:txBody>
      </p:sp>
      <p:sp>
        <p:nvSpPr>
          <p:cNvPr id="10" name="Textplatzhalter 14">
            <a:extLst>
              <a:ext uri="{FF2B5EF4-FFF2-40B4-BE49-F238E27FC236}">
                <a16:creationId xmlns:a16="http://schemas.microsoft.com/office/drawing/2014/main" id="{CF5491CC-BC46-4FAF-8941-63A9EDD159F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>
          <a:xfrm>
            <a:off x="336550" y="1411288"/>
            <a:ext cx="3743325" cy="5041901"/>
          </a:xfrm>
        </p:spPr>
        <p:txBody>
          <a:bodyPr rIns="144000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de-DE" noProof="0"/>
          </a:p>
        </p:txBody>
      </p:sp>
      <p:sp>
        <p:nvSpPr>
          <p:cNvPr id="11" name="Textplatzhalter 14">
            <a:extLst>
              <a:ext uri="{FF2B5EF4-FFF2-40B4-BE49-F238E27FC236}">
                <a16:creationId xmlns:a16="http://schemas.microsoft.com/office/drawing/2014/main" id="{A815259B-F024-43CC-A198-7A0FD6349320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 bwMode="gray">
          <a:xfrm>
            <a:off x="4224338" y="1411288"/>
            <a:ext cx="3743325" cy="5041901"/>
          </a:xfrm>
        </p:spPr>
        <p:txBody>
          <a:bodyPr rIns="144000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de-DE" noProof="0"/>
          </a:p>
        </p:txBody>
      </p:sp>
      <p:sp>
        <p:nvSpPr>
          <p:cNvPr id="12" name="Textplatzhalter 14">
            <a:extLst>
              <a:ext uri="{FF2B5EF4-FFF2-40B4-BE49-F238E27FC236}">
                <a16:creationId xmlns:a16="http://schemas.microsoft.com/office/drawing/2014/main" id="{C7C123BB-7B12-4D15-B032-4C6DF2CDB1C2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 bwMode="gray">
          <a:xfrm>
            <a:off x="8113713" y="1411288"/>
            <a:ext cx="3743325" cy="5041901"/>
          </a:xfrm>
        </p:spPr>
        <p:txBody>
          <a:bodyPr rIns="144000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1814641482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x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2A91C57D-0163-4143-8F9B-841FA758B9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855266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2A91C57D-0163-4143-8F9B-841FA758B9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B791BBA6-21FB-476D-917A-6AD66B6FA606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de-DE" noProof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D5F01BF3-5E3B-4F8E-AB3B-E070AB6B021B}"/>
              </a:ext>
            </a:extLst>
          </p:cNvPr>
          <p:cNvSpPr>
            <a:spLocks noGrp="1"/>
          </p:cNvSpPr>
          <p:nvPr>
            <p:ph type="dt" sz="half" idx="20"/>
          </p:nvPr>
        </p:nvSpPr>
        <p:spPr bwMode="gray"/>
        <p:txBody>
          <a:bodyPr/>
          <a:lstStyle/>
          <a:p>
            <a:fld id="{5659092B-5EC5-45CE-A115-0F090189DDFE}" type="datetime1">
              <a:rPr lang="de-DE" noProof="0" smtClean="0"/>
              <a:t>22.10.2023</a:t>
            </a:fld>
            <a:endParaRPr lang="de-DE" sz="800" noProof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AC1E8F5-1397-40A5-BFBE-A95E21862C6B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 bwMode="gray"/>
        <p:txBody>
          <a:bodyPr/>
          <a:lstStyle/>
          <a:p>
            <a:pPr algn="ctr"/>
            <a:r>
              <a:rPr lang="de-DE" noProof="0"/>
              <a:t>Commerzbank AG, Max Mustermann, GM-C Brand Management 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6A15F1C2-5BA9-4DB4-96CD-50E2D6AFA0EE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 bwMode="gray"/>
        <p:txBody>
          <a:bodyPr/>
          <a:lstStyle/>
          <a:p>
            <a:fld id="{CAEFDB47-5D1C-45E7-8BD0-EF74349B00F7}" type="slidenum">
              <a:rPr lang="de-DE" noProof="0" smtClean="0"/>
              <a:pPr/>
              <a:t>‹#›</a:t>
            </a:fld>
            <a:endParaRPr lang="de-DE" b="1" noProof="0"/>
          </a:p>
        </p:txBody>
      </p:sp>
      <p:sp>
        <p:nvSpPr>
          <p:cNvPr id="20" name="Textplatzhalter 14">
            <a:extLst>
              <a:ext uri="{FF2B5EF4-FFF2-40B4-BE49-F238E27FC236}">
                <a16:creationId xmlns:a16="http://schemas.microsoft.com/office/drawing/2014/main" id="{65C92D5E-BAAA-4905-80BA-1716901F5A3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>
          <a:xfrm>
            <a:off x="336550" y="1411289"/>
            <a:ext cx="3743325" cy="2449512"/>
          </a:xfrm>
        </p:spPr>
        <p:txBody>
          <a:bodyPr rIns="144000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de-DE" noProof="0"/>
          </a:p>
        </p:txBody>
      </p:sp>
      <p:sp>
        <p:nvSpPr>
          <p:cNvPr id="21" name="Textplatzhalter 14">
            <a:extLst>
              <a:ext uri="{FF2B5EF4-FFF2-40B4-BE49-F238E27FC236}">
                <a16:creationId xmlns:a16="http://schemas.microsoft.com/office/drawing/2014/main" id="{71B1F06B-EC08-416F-AAA1-411EE8FDAD01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 bwMode="gray">
          <a:xfrm>
            <a:off x="4224338" y="1411289"/>
            <a:ext cx="3743325" cy="2449512"/>
          </a:xfrm>
        </p:spPr>
        <p:txBody>
          <a:bodyPr rIns="144000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de-DE" noProof="0"/>
          </a:p>
        </p:txBody>
      </p:sp>
      <p:sp>
        <p:nvSpPr>
          <p:cNvPr id="22" name="Textplatzhalter 14">
            <a:extLst>
              <a:ext uri="{FF2B5EF4-FFF2-40B4-BE49-F238E27FC236}">
                <a16:creationId xmlns:a16="http://schemas.microsoft.com/office/drawing/2014/main" id="{FF263A0A-5B2A-46E3-96AF-64D01FB467F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 bwMode="gray">
          <a:xfrm>
            <a:off x="8113713" y="1411289"/>
            <a:ext cx="3743325" cy="2449512"/>
          </a:xfrm>
        </p:spPr>
        <p:txBody>
          <a:bodyPr rIns="144000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de-DE" noProof="0"/>
          </a:p>
        </p:txBody>
      </p:sp>
      <p:sp>
        <p:nvSpPr>
          <p:cNvPr id="23" name="Textplatzhalter 14">
            <a:extLst>
              <a:ext uri="{FF2B5EF4-FFF2-40B4-BE49-F238E27FC236}">
                <a16:creationId xmlns:a16="http://schemas.microsoft.com/office/drawing/2014/main" id="{F57CC67B-5299-44AE-9A67-0821F16B0255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 bwMode="gray">
          <a:xfrm>
            <a:off x="336550" y="4005263"/>
            <a:ext cx="3743325" cy="2449512"/>
          </a:xfrm>
        </p:spPr>
        <p:txBody>
          <a:bodyPr rIns="144000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de-DE" noProof="0"/>
          </a:p>
        </p:txBody>
      </p:sp>
      <p:sp>
        <p:nvSpPr>
          <p:cNvPr id="24" name="Textplatzhalter 14">
            <a:extLst>
              <a:ext uri="{FF2B5EF4-FFF2-40B4-BE49-F238E27FC236}">
                <a16:creationId xmlns:a16="http://schemas.microsoft.com/office/drawing/2014/main" id="{1C28694A-CE82-4FA0-A5F9-9E2D3E32D25E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 bwMode="gray">
          <a:xfrm>
            <a:off x="4224338" y="4005263"/>
            <a:ext cx="3743325" cy="2449512"/>
          </a:xfrm>
        </p:spPr>
        <p:txBody>
          <a:bodyPr rIns="144000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de-DE" noProof="0"/>
          </a:p>
        </p:txBody>
      </p:sp>
      <p:sp>
        <p:nvSpPr>
          <p:cNvPr id="25" name="Textplatzhalter 14">
            <a:extLst>
              <a:ext uri="{FF2B5EF4-FFF2-40B4-BE49-F238E27FC236}">
                <a16:creationId xmlns:a16="http://schemas.microsoft.com/office/drawing/2014/main" id="{5DC14125-2FF9-4F77-8D9A-CE2533E3801F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 bwMode="gray">
          <a:xfrm>
            <a:off x="8113713" y="4005263"/>
            <a:ext cx="3743325" cy="2449512"/>
          </a:xfrm>
        </p:spPr>
        <p:txBody>
          <a:bodyPr rIns="144000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3660980691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Picture 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>
            <a:extLst>
              <a:ext uri="{FF2B5EF4-FFF2-40B4-BE49-F238E27FC236}">
                <a16:creationId xmlns:a16="http://schemas.microsoft.com/office/drawing/2014/main" id="{14416664-C59E-8502-134C-D6D3001EB238}"/>
              </a:ext>
            </a:extLst>
          </p:cNvPr>
          <p:cNvSpPr/>
          <p:nvPr userDrawn="1"/>
        </p:nvSpPr>
        <p:spPr bwMode="gray">
          <a:xfrm>
            <a:off x="11438361" y="239316"/>
            <a:ext cx="467915" cy="40124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lnSpc>
                <a:spcPct val="110000"/>
              </a:lnSpc>
              <a:spcBef>
                <a:spcPts val="600"/>
              </a:spcBef>
            </a:pPr>
            <a:endParaRPr lang="de-CH" sz="1200" b="1" dirty="0" err="1">
              <a:solidFill>
                <a:schemeClr val="bg1"/>
              </a:solidFill>
            </a:endParaRPr>
          </a:p>
        </p:txBody>
      </p:sp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3F34628A-9FDF-4CC5-8075-404915653DB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007626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3F34628A-9FDF-4CC5-8075-404915653DB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Bildplatzhalter 8">
            <a:extLst>
              <a:ext uri="{FF2B5EF4-FFF2-40B4-BE49-F238E27FC236}">
                <a16:creationId xmlns:a16="http://schemas.microsoft.com/office/drawing/2014/main" id="{6DB4EBAE-7EE0-4A7F-BCB2-9B2864E73D23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8112124" y="0"/>
            <a:ext cx="4079875" cy="6453188"/>
          </a:xfrm>
          <a:noFill/>
        </p:spPr>
        <p:txBody>
          <a:bodyPr lIns="0" tIns="0" rIns="0" bIns="576000" anchor="b"/>
          <a:lstStyle>
            <a:lvl1pPr marL="0" indent="0" algn="ctr">
              <a:buNone/>
              <a:defRPr sz="800">
                <a:solidFill>
                  <a:schemeClr val="accent4"/>
                </a:solidFill>
              </a:defRPr>
            </a:lvl1pPr>
          </a:lstStyle>
          <a:p>
            <a:r>
              <a:rPr lang="de-DE" noProof="0" dirty="0"/>
              <a:t>Fügen Sie ein Bild über Klicken auf das Symbol ein. </a:t>
            </a: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Alternativ kopieren Sie ein Bild in die Zwischenablage, </a:t>
            </a:r>
            <a:br>
              <a:rPr lang="de-DE" noProof="0" dirty="0"/>
            </a:br>
            <a:r>
              <a:rPr lang="de-DE" noProof="0" dirty="0"/>
              <a:t>wählen Sie den Platzhalter an und klicken Sie einfügen. </a:t>
            </a: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Achten Sie darauf, dass das Logo im Vordergrund ist und </a:t>
            </a:r>
            <a:br>
              <a:rPr lang="de-DE" noProof="0" dirty="0"/>
            </a:br>
            <a:r>
              <a:rPr lang="de-DE" noProof="0" dirty="0"/>
              <a:t>wählen Sie bei hellen Bildern Petrol als Logofarbe.</a:t>
            </a:r>
          </a:p>
        </p:txBody>
      </p:sp>
      <p:sp>
        <p:nvSpPr>
          <p:cNvPr id="12" name="SmartArt-Platzhalter 11">
            <a:extLst>
              <a:ext uri="{FF2B5EF4-FFF2-40B4-BE49-F238E27FC236}">
                <a16:creationId xmlns:a16="http://schemas.microsoft.com/office/drawing/2014/main" id="{90E25250-96E1-4A78-9EE6-8AD9112BF777}"/>
              </a:ext>
            </a:extLst>
          </p:cNvPr>
          <p:cNvSpPr>
            <a:spLocks noGrp="1"/>
          </p:cNvSpPr>
          <p:nvPr>
            <p:ph type="dgm" sz="quarter" idx="15"/>
          </p:nvPr>
        </p:nvSpPr>
        <p:spPr bwMode="gray">
          <a:xfrm>
            <a:off x="11522271" y="260351"/>
            <a:ext cx="332854" cy="288924"/>
          </a:xfrm>
          <a:custGeom>
            <a:avLst/>
            <a:gdLst>
              <a:gd name="connsiteX0" fmla="*/ 26189 w 332854"/>
              <a:gd name="connsiteY0" fmla="*/ 199375 h 288924"/>
              <a:gd name="connsiteX1" fmla="*/ 38755 w 332854"/>
              <a:gd name="connsiteY1" fmla="*/ 203399 h 288924"/>
              <a:gd name="connsiteX2" fmla="*/ 60872 w 332854"/>
              <a:gd name="connsiteY2" fmla="*/ 208430 h 288924"/>
              <a:gd name="connsiteX3" fmla="*/ 89523 w 332854"/>
              <a:gd name="connsiteY3" fmla="*/ 210442 h 288924"/>
              <a:gd name="connsiteX4" fmla="*/ 166428 w 332854"/>
              <a:gd name="connsiteY4" fmla="*/ 210442 h 288924"/>
              <a:gd name="connsiteX5" fmla="*/ 243335 w 332854"/>
              <a:gd name="connsiteY5" fmla="*/ 210442 h 288924"/>
              <a:gd name="connsiteX6" fmla="*/ 255398 w 332854"/>
              <a:gd name="connsiteY6" fmla="*/ 210442 h 288924"/>
              <a:gd name="connsiteX7" fmla="*/ 260927 w 332854"/>
              <a:gd name="connsiteY7" fmla="*/ 226542 h 288924"/>
              <a:gd name="connsiteX8" fmla="*/ 265953 w 332854"/>
              <a:gd name="connsiteY8" fmla="*/ 260752 h 288924"/>
              <a:gd name="connsiteX9" fmla="*/ 258916 w 332854"/>
              <a:gd name="connsiteY9" fmla="*/ 282384 h 288924"/>
              <a:gd name="connsiteX10" fmla="*/ 254895 w 332854"/>
              <a:gd name="connsiteY10" fmla="*/ 288924 h 288924"/>
              <a:gd name="connsiteX11" fmla="*/ 253513 w 332854"/>
              <a:gd name="connsiteY11" fmla="*/ 288924 h 288924"/>
              <a:gd name="connsiteX12" fmla="*/ 243837 w 332854"/>
              <a:gd name="connsiteY12" fmla="*/ 288924 h 288924"/>
              <a:gd name="connsiteX13" fmla="*/ 217573 w 332854"/>
              <a:gd name="connsiteY13" fmla="*/ 288924 h 288924"/>
              <a:gd name="connsiteX14" fmla="*/ 166428 w 332854"/>
              <a:gd name="connsiteY14" fmla="*/ 288924 h 288924"/>
              <a:gd name="connsiteX15" fmla="*/ 165046 w 332854"/>
              <a:gd name="connsiteY15" fmla="*/ 288924 h 288924"/>
              <a:gd name="connsiteX16" fmla="*/ 155370 w 332854"/>
              <a:gd name="connsiteY16" fmla="*/ 288924 h 288924"/>
              <a:gd name="connsiteX17" fmla="*/ 129106 w 332854"/>
              <a:gd name="connsiteY17" fmla="*/ 288924 h 288924"/>
              <a:gd name="connsiteX18" fmla="*/ 77962 w 332854"/>
              <a:gd name="connsiteY18" fmla="*/ 288924 h 288924"/>
              <a:gd name="connsiteX19" fmla="*/ 26189 w 332854"/>
              <a:gd name="connsiteY19" fmla="*/ 199375 h 288924"/>
              <a:gd name="connsiteX20" fmla="*/ 236869 w 332854"/>
              <a:gd name="connsiteY20" fmla="*/ 0 h 288924"/>
              <a:gd name="connsiteX21" fmla="*/ 237811 w 332854"/>
              <a:gd name="connsiteY21" fmla="*/ 0 h 288924"/>
              <a:gd name="connsiteX22" fmla="*/ 244408 w 332854"/>
              <a:gd name="connsiteY22" fmla="*/ 0 h 288924"/>
              <a:gd name="connsiteX23" fmla="*/ 332854 w 332854"/>
              <a:gd name="connsiteY23" fmla="*/ 153506 h 288924"/>
              <a:gd name="connsiteX24" fmla="*/ 281595 w 332854"/>
              <a:gd name="connsiteY24" fmla="*/ 243093 h 288924"/>
              <a:gd name="connsiteX25" fmla="*/ 279082 w 332854"/>
              <a:gd name="connsiteY25" fmla="*/ 230008 h 288924"/>
              <a:gd name="connsiteX26" fmla="*/ 272047 w 332854"/>
              <a:gd name="connsiteY26" fmla="*/ 208366 h 288924"/>
              <a:gd name="connsiteX27" fmla="*/ 259483 w 332854"/>
              <a:gd name="connsiteY27" fmla="*/ 182194 h 288924"/>
              <a:gd name="connsiteX28" fmla="*/ 221290 w 332854"/>
              <a:gd name="connsiteY28" fmla="*/ 115759 h 288924"/>
              <a:gd name="connsiteX29" fmla="*/ 182595 w 332854"/>
              <a:gd name="connsiteY29" fmla="*/ 49323 h 288924"/>
              <a:gd name="connsiteX30" fmla="*/ 176565 w 332854"/>
              <a:gd name="connsiteY30" fmla="*/ 38754 h 288924"/>
              <a:gd name="connsiteX31" fmla="*/ 187620 w 332854"/>
              <a:gd name="connsiteY31" fmla="*/ 25668 h 288924"/>
              <a:gd name="connsiteX32" fmla="*/ 214758 w 332854"/>
              <a:gd name="connsiteY32" fmla="*/ 4530 h 288924"/>
              <a:gd name="connsiteX33" fmla="*/ 236869 w 332854"/>
              <a:gd name="connsiteY33" fmla="*/ 0 h 288924"/>
              <a:gd name="connsiteX34" fmla="*/ 88490 w 332854"/>
              <a:gd name="connsiteY34" fmla="*/ 0 h 288924"/>
              <a:gd name="connsiteX35" fmla="*/ 90100 w 332854"/>
              <a:gd name="connsiteY35" fmla="*/ 0 h 288924"/>
              <a:gd name="connsiteX36" fmla="*/ 101374 w 332854"/>
              <a:gd name="connsiteY36" fmla="*/ 0 h 288924"/>
              <a:gd name="connsiteX37" fmla="*/ 131973 w 332854"/>
              <a:gd name="connsiteY37" fmla="*/ 0 h 288924"/>
              <a:gd name="connsiteX38" fmla="*/ 157539 w 332854"/>
              <a:gd name="connsiteY38" fmla="*/ 0 h 288924"/>
              <a:gd name="connsiteX39" fmla="*/ 191560 w 332854"/>
              <a:gd name="connsiteY39" fmla="*/ 0 h 288924"/>
              <a:gd name="connsiteX40" fmla="*/ 181504 w 332854"/>
              <a:gd name="connsiteY40" fmla="*/ 9059 h 288924"/>
              <a:gd name="connsiteX41" fmla="*/ 166421 w 332854"/>
              <a:gd name="connsiteY41" fmla="*/ 25666 h 288924"/>
              <a:gd name="connsiteX42" fmla="*/ 150332 w 332854"/>
              <a:gd name="connsiteY42" fmla="*/ 49319 h 288924"/>
              <a:gd name="connsiteX43" fmla="*/ 111617 w 332854"/>
              <a:gd name="connsiteY43" fmla="*/ 115748 h 288924"/>
              <a:gd name="connsiteX44" fmla="*/ 72903 w 332854"/>
              <a:gd name="connsiteY44" fmla="*/ 182178 h 288924"/>
              <a:gd name="connsiteX45" fmla="*/ 67373 w 332854"/>
              <a:gd name="connsiteY45" fmla="*/ 193250 h 288924"/>
              <a:gd name="connsiteX46" fmla="*/ 50278 w 332854"/>
              <a:gd name="connsiteY46" fmla="*/ 189727 h 288924"/>
              <a:gd name="connsiteX47" fmla="*/ 18603 w 332854"/>
              <a:gd name="connsiteY47" fmla="*/ 176643 h 288924"/>
              <a:gd name="connsiteX48" fmla="*/ 3520 w 332854"/>
              <a:gd name="connsiteY48" fmla="*/ 160035 h 288924"/>
              <a:gd name="connsiteX49" fmla="*/ 0 w 332854"/>
              <a:gd name="connsiteY49" fmla="*/ 153493 h 288924"/>
              <a:gd name="connsiteX50" fmla="*/ 2514 w 332854"/>
              <a:gd name="connsiteY50" fmla="*/ 148963 h 288924"/>
              <a:gd name="connsiteX51" fmla="*/ 88490 w 332854"/>
              <a:gd name="connsiteY51" fmla="*/ 0 h 2889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</a:cxnLst>
            <a:rect l="l" t="t" r="r" b="b"/>
            <a:pathLst>
              <a:path w="332854" h="288924">
                <a:moveTo>
                  <a:pt x="26189" y="199375"/>
                </a:moveTo>
                <a:cubicBezTo>
                  <a:pt x="29708" y="200884"/>
                  <a:pt x="34232" y="202394"/>
                  <a:pt x="38755" y="203399"/>
                </a:cubicBezTo>
                <a:cubicBezTo>
                  <a:pt x="44787" y="204909"/>
                  <a:pt x="57354" y="207927"/>
                  <a:pt x="60872" y="208430"/>
                </a:cubicBezTo>
                <a:cubicBezTo>
                  <a:pt x="72433" y="210442"/>
                  <a:pt x="82989" y="210442"/>
                  <a:pt x="89523" y="210442"/>
                </a:cubicBezTo>
                <a:cubicBezTo>
                  <a:pt x="89523" y="210442"/>
                  <a:pt x="89523" y="210442"/>
                  <a:pt x="166428" y="210442"/>
                </a:cubicBezTo>
                <a:cubicBezTo>
                  <a:pt x="166428" y="210442"/>
                  <a:pt x="166428" y="210442"/>
                  <a:pt x="243335" y="210442"/>
                </a:cubicBezTo>
                <a:cubicBezTo>
                  <a:pt x="246350" y="210442"/>
                  <a:pt x="250371" y="210442"/>
                  <a:pt x="255398" y="210442"/>
                </a:cubicBezTo>
                <a:cubicBezTo>
                  <a:pt x="257408" y="216480"/>
                  <a:pt x="260927" y="226038"/>
                  <a:pt x="260927" y="226542"/>
                </a:cubicBezTo>
                <a:cubicBezTo>
                  <a:pt x="265451" y="238616"/>
                  <a:pt x="266959" y="250186"/>
                  <a:pt x="265953" y="260752"/>
                </a:cubicBezTo>
                <a:cubicBezTo>
                  <a:pt x="264446" y="270814"/>
                  <a:pt x="260927" y="277857"/>
                  <a:pt x="258916" y="282384"/>
                </a:cubicBezTo>
                <a:lnTo>
                  <a:pt x="254895" y="288924"/>
                </a:lnTo>
                <a:lnTo>
                  <a:pt x="253513" y="288924"/>
                </a:lnTo>
                <a:lnTo>
                  <a:pt x="243837" y="288924"/>
                </a:lnTo>
                <a:lnTo>
                  <a:pt x="217573" y="288924"/>
                </a:lnTo>
                <a:lnTo>
                  <a:pt x="166428" y="288924"/>
                </a:lnTo>
                <a:lnTo>
                  <a:pt x="165046" y="288924"/>
                </a:lnTo>
                <a:lnTo>
                  <a:pt x="155370" y="288924"/>
                </a:lnTo>
                <a:lnTo>
                  <a:pt x="129106" y="288924"/>
                </a:lnTo>
                <a:lnTo>
                  <a:pt x="77962" y="288924"/>
                </a:lnTo>
                <a:cubicBezTo>
                  <a:pt x="77962" y="288924"/>
                  <a:pt x="77962" y="288924"/>
                  <a:pt x="26189" y="199375"/>
                </a:cubicBezTo>
                <a:close/>
                <a:moveTo>
                  <a:pt x="236869" y="0"/>
                </a:moveTo>
                <a:lnTo>
                  <a:pt x="237811" y="0"/>
                </a:lnTo>
                <a:lnTo>
                  <a:pt x="244408" y="0"/>
                </a:lnTo>
                <a:cubicBezTo>
                  <a:pt x="244408" y="0"/>
                  <a:pt x="244408" y="0"/>
                  <a:pt x="332854" y="153506"/>
                </a:cubicBezTo>
                <a:cubicBezTo>
                  <a:pt x="332854" y="153506"/>
                  <a:pt x="332854" y="153506"/>
                  <a:pt x="281595" y="243093"/>
                </a:cubicBezTo>
                <a:cubicBezTo>
                  <a:pt x="280590" y="239066"/>
                  <a:pt x="280088" y="234536"/>
                  <a:pt x="279082" y="230008"/>
                </a:cubicBezTo>
                <a:cubicBezTo>
                  <a:pt x="277072" y="223968"/>
                  <a:pt x="273053" y="211385"/>
                  <a:pt x="272047" y="208366"/>
                </a:cubicBezTo>
                <a:cubicBezTo>
                  <a:pt x="268026" y="197293"/>
                  <a:pt x="262499" y="188234"/>
                  <a:pt x="259483" y="182194"/>
                </a:cubicBezTo>
                <a:cubicBezTo>
                  <a:pt x="246418" y="159546"/>
                  <a:pt x="221290" y="115759"/>
                  <a:pt x="221290" y="115759"/>
                </a:cubicBezTo>
                <a:cubicBezTo>
                  <a:pt x="221290" y="115759"/>
                  <a:pt x="195661" y="71972"/>
                  <a:pt x="182595" y="49323"/>
                </a:cubicBezTo>
                <a:cubicBezTo>
                  <a:pt x="181088" y="46304"/>
                  <a:pt x="179078" y="42780"/>
                  <a:pt x="176565" y="38754"/>
                </a:cubicBezTo>
                <a:cubicBezTo>
                  <a:pt x="180585" y="33722"/>
                  <a:pt x="187118" y="26675"/>
                  <a:pt x="187620" y="25668"/>
                </a:cubicBezTo>
                <a:cubicBezTo>
                  <a:pt x="195661" y="16105"/>
                  <a:pt x="205209" y="9060"/>
                  <a:pt x="214758" y="4530"/>
                </a:cubicBezTo>
                <a:cubicBezTo>
                  <a:pt x="223804" y="1007"/>
                  <a:pt x="231844" y="0"/>
                  <a:pt x="236869" y="0"/>
                </a:cubicBezTo>
                <a:close/>
                <a:moveTo>
                  <a:pt x="88490" y="0"/>
                </a:moveTo>
                <a:lnTo>
                  <a:pt x="90100" y="0"/>
                </a:lnTo>
                <a:lnTo>
                  <a:pt x="101374" y="0"/>
                </a:lnTo>
                <a:lnTo>
                  <a:pt x="131973" y="0"/>
                </a:lnTo>
                <a:lnTo>
                  <a:pt x="157539" y="0"/>
                </a:lnTo>
                <a:lnTo>
                  <a:pt x="191560" y="0"/>
                </a:lnTo>
                <a:cubicBezTo>
                  <a:pt x="188040" y="2517"/>
                  <a:pt x="185024" y="5535"/>
                  <a:pt x="181504" y="9059"/>
                </a:cubicBezTo>
                <a:cubicBezTo>
                  <a:pt x="176980" y="13084"/>
                  <a:pt x="168934" y="22646"/>
                  <a:pt x="166421" y="25666"/>
                </a:cubicBezTo>
                <a:cubicBezTo>
                  <a:pt x="158879" y="34725"/>
                  <a:pt x="153349" y="43280"/>
                  <a:pt x="150332" y="49319"/>
                </a:cubicBezTo>
                <a:cubicBezTo>
                  <a:pt x="136756" y="71965"/>
                  <a:pt x="111617" y="115748"/>
                  <a:pt x="111617" y="115748"/>
                </a:cubicBezTo>
                <a:cubicBezTo>
                  <a:pt x="111617" y="115748"/>
                  <a:pt x="86479" y="159532"/>
                  <a:pt x="72903" y="182178"/>
                </a:cubicBezTo>
                <a:cubicBezTo>
                  <a:pt x="71395" y="185198"/>
                  <a:pt x="69886" y="188721"/>
                  <a:pt x="67373" y="193250"/>
                </a:cubicBezTo>
                <a:cubicBezTo>
                  <a:pt x="60837" y="191740"/>
                  <a:pt x="51284" y="190230"/>
                  <a:pt x="50278" y="189727"/>
                </a:cubicBezTo>
                <a:cubicBezTo>
                  <a:pt x="37709" y="187715"/>
                  <a:pt x="27150" y="183185"/>
                  <a:pt x="18603" y="176643"/>
                </a:cubicBezTo>
                <a:cubicBezTo>
                  <a:pt x="10558" y="170604"/>
                  <a:pt x="6033" y="164062"/>
                  <a:pt x="3520" y="160035"/>
                </a:cubicBezTo>
                <a:cubicBezTo>
                  <a:pt x="3520" y="160035"/>
                  <a:pt x="3520" y="160035"/>
                  <a:pt x="0" y="153493"/>
                </a:cubicBezTo>
                <a:cubicBezTo>
                  <a:pt x="0" y="153493"/>
                  <a:pt x="0" y="153493"/>
                  <a:pt x="2514" y="148963"/>
                </a:cubicBezTo>
                <a:cubicBezTo>
                  <a:pt x="2514" y="148963"/>
                  <a:pt x="2514" y="148963"/>
                  <a:pt x="88490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r>
              <a:rPr lang="en-US" noProof="0"/>
              <a:t>Click icon to add SmartArt graphic</a:t>
            </a:r>
            <a:endParaRPr lang="de-DE" noProof="0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359D8B67-F448-4FDD-984D-6E7554F5EF4A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336549" y="1"/>
            <a:ext cx="7631113" cy="1125538"/>
          </a:xfrm>
        </p:spPr>
        <p:txBody>
          <a:bodyPr vert="horz" rIns="0"/>
          <a:lstStyle/>
          <a:p>
            <a:r>
              <a:rPr lang="en-US" noProof="0"/>
              <a:t>Click to edit Master title style</a:t>
            </a:r>
            <a:endParaRPr lang="de-DE" noProof="0" dirty="0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221DA9E7-F5BE-4A84-8E7B-D736D9ED9355}"/>
              </a:ext>
            </a:extLst>
          </p:cNvPr>
          <p:cNvSpPr>
            <a:spLocks noGrp="1"/>
          </p:cNvSpPr>
          <p:nvPr>
            <p:ph type="dt" sz="half" idx="16"/>
          </p:nvPr>
        </p:nvSpPr>
        <p:spPr bwMode="gray"/>
        <p:txBody>
          <a:bodyPr/>
          <a:lstStyle/>
          <a:p>
            <a:fld id="{8224E9D3-4CC9-4995-B631-E90B94975326}" type="datetime1">
              <a:rPr lang="de-DE" noProof="0" smtClean="0"/>
              <a:t>22.10.2023</a:t>
            </a:fld>
            <a:endParaRPr lang="de-DE" sz="800" noProof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2384B9A-4174-4D9D-9EF8-E59B4C951536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 bwMode="gray"/>
        <p:txBody>
          <a:bodyPr/>
          <a:lstStyle/>
          <a:p>
            <a:pPr algn="ctr"/>
            <a:r>
              <a:rPr lang="de-DE" noProof="0"/>
              <a:t>Commerzbank AG, Max Mustermann, GM-C Brand Management 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61FA5FD0-3E85-4292-A0CE-868AE0007228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 bwMode="gray"/>
        <p:txBody>
          <a:bodyPr/>
          <a:lstStyle/>
          <a:p>
            <a:fld id="{CAEFDB47-5D1C-45E7-8BD0-EF74349B00F7}" type="slidenum">
              <a:rPr lang="de-DE" noProof="0" smtClean="0"/>
              <a:pPr/>
              <a:t>‹#›</a:t>
            </a:fld>
            <a:endParaRPr lang="de-DE" b="1" noProof="0"/>
          </a:p>
        </p:txBody>
      </p:sp>
      <p:sp>
        <p:nvSpPr>
          <p:cNvPr id="10" name="Textplatzhalter 14">
            <a:extLst>
              <a:ext uri="{FF2B5EF4-FFF2-40B4-BE49-F238E27FC236}">
                <a16:creationId xmlns:a16="http://schemas.microsoft.com/office/drawing/2014/main" id="{A18482F0-D25F-485F-A038-1D3375E1D7E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>
          <a:xfrm>
            <a:off x="336550" y="1411288"/>
            <a:ext cx="7631106" cy="5041901"/>
          </a:xfrm>
        </p:spPr>
        <p:txBody>
          <a:bodyPr rIns="144000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2489255121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Picture 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ABBB560B-0F0C-3C0D-ADAA-8B8F02C3E863}"/>
              </a:ext>
            </a:extLst>
          </p:cNvPr>
          <p:cNvSpPr/>
          <p:nvPr userDrawn="1"/>
        </p:nvSpPr>
        <p:spPr bwMode="gray">
          <a:xfrm>
            <a:off x="11438361" y="239316"/>
            <a:ext cx="467915" cy="40124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lnSpc>
                <a:spcPct val="110000"/>
              </a:lnSpc>
              <a:spcBef>
                <a:spcPts val="600"/>
              </a:spcBef>
            </a:pPr>
            <a:endParaRPr lang="de-CH" sz="1200" b="1" dirty="0" err="1">
              <a:solidFill>
                <a:schemeClr val="bg1"/>
              </a:solidFill>
            </a:endParaRPr>
          </a:p>
        </p:txBody>
      </p:sp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3F34628A-9FDF-4CC5-8075-404915653DB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176701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3F34628A-9FDF-4CC5-8075-404915653DB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Bildplatzhalter 8">
            <a:extLst>
              <a:ext uri="{FF2B5EF4-FFF2-40B4-BE49-F238E27FC236}">
                <a16:creationId xmlns:a16="http://schemas.microsoft.com/office/drawing/2014/main" id="{6DB4EBAE-7EE0-4A7F-BCB2-9B2864E73D23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167438" y="0"/>
            <a:ext cx="6024562" cy="6453188"/>
          </a:xfrm>
          <a:noFill/>
        </p:spPr>
        <p:txBody>
          <a:bodyPr lIns="0" tIns="0" rIns="0" bIns="576000" anchor="b"/>
          <a:lstStyle>
            <a:lvl1pPr marL="0" indent="0" algn="ctr">
              <a:buNone/>
              <a:defRPr sz="800">
                <a:solidFill>
                  <a:schemeClr val="accent4"/>
                </a:solidFill>
              </a:defRPr>
            </a:lvl1pPr>
          </a:lstStyle>
          <a:p>
            <a:r>
              <a:rPr lang="de-DE" noProof="0"/>
              <a:t>Fügen Sie ein Bild über Klicken auf das Symbol ein. </a:t>
            </a:r>
            <a:br>
              <a:rPr lang="de-DE" noProof="0"/>
            </a:br>
            <a:br>
              <a:rPr lang="de-DE" noProof="0"/>
            </a:br>
            <a:r>
              <a:rPr lang="de-DE" noProof="0"/>
              <a:t>Alternativ kopieren Sie ein Bild in die Zwischenablage, </a:t>
            </a:r>
            <a:br>
              <a:rPr lang="de-DE" noProof="0"/>
            </a:br>
            <a:r>
              <a:rPr lang="de-DE" noProof="0"/>
              <a:t>wählen Sie den Platzhalter an und klicken Sie einfügen. </a:t>
            </a:r>
            <a:br>
              <a:rPr lang="de-DE" noProof="0"/>
            </a:br>
            <a:br>
              <a:rPr lang="de-DE" noProof="0"/>
            </a:br>
            <a:r>
              <a:rPr lang="de-DE" noProof="0"/>
              <a:t>Achten Sie darauf, dass das Logo im Vordergrund ist und </a:t>
            </a:r>
            <a:br>
              <a:rPr lang="de-DE" noProof="0"/>
            </a:br>
            <a:r>
              <a:rPr lang="de-DE" noProof="0"/>
              <a:t>wählen Sie bei hellen Bildern Petrol als Logofarbe.</a:t>
            </a:r>
          </a:p>
        </p:txBody>
      </p:sp>
      <p:sp>
        <p:nvSpPr>
          <p:cNvPr id="12" name="SmartArt-Platzhalter 11">
            <a:extLst>
              <a:ext uri="{FF2B5EF4-FFF2-40B4-BE49-F238E27FC236}">
                <a16:creationId xmlns:a16="http://schemas.microsoft.com/office/drawing/2014/main" id="{90E25250-96E1-4A78-9EE6-8AD9112BF777}"/>
              </a:ext>
            </a:extLst>
          </p:cNvPr>
          <p:cNvSpPr>
            <a:spLocks noGrp="1"/>
          </p:cNvSpPr>
          <p:nvPr>
            <p:ph type="dgm" sz="quarter" idx="15"/>
          </p:nvPr>
        </p:nvSpPr>
        <p:spPr bwMode="gray">
          <a:xfrm>
            <a:off x="11522271" y="260351"/>
            <a:ext cx="332854" cy="288924"/>
          </a:xfrm>
          <a:custGeom>
            <a:avLst/>
            <a:gdLst>
              <a:gd name="connsiteX0" fmla="*/ 26189 w 332854"/>
              <a:gd name="connsiteY0" fmla="*/ 199375 h 288924"/>
              <a:gd name="connsiteX1" fmla="*/ 38755 w 332854"/>
              <a:gd name="connsiteY1" fmla="*/ 203399 h 288924"/>
              <a:gd name="connsiteX2" fmla="*/ 60872 w 332854"/>
              <a:gd name="connsiteY2" fmla="*/ 208430 h 288924"/>
              <a:gd name="connsiteX3" fmla="*/ 89523 w 332854"/>
              <a:gd name="connsiteY3" fmla="*/ 210442 h 288924"/>
              <a:gd name="connsiteX4" fmla="*/ 166428 w 332854"/>
              <a:gd name="connsiteY4" fmla="*/ 210442 h 288924"/>
              <a:gd name="connsiteX5" fmla="*/ 243335 w 332854"/>
              <a:gd name="connsiteY5" fmla="*/ 210442 h 288924"/>
              <a:gd name="connsiteX6" fmla="*/ 255398 w 332854"/>
              <a:gd name="connsiteY6" fmla="*/ 210442 h 288924"/>
              <a:gd name="connsiteX7" fmla="*/ 260927 w 332854"/>
              <a:gd name="connsiteY7" fmla="*/ 226542 h 288924"/>
              <a:gd name="connsiteX8" fmla="*/ 265953 w 332854"/>
              <a:gd name="connsiteY8" fmla="*/ 260752 h 288924"/>
              <a:gd name="connsiteX9" fmla="*/ 258916 w 332854"/>
              <a:gd name="connsiteY9" fmla="*/ 282384 h 288924"/>
              <a:gd name="connsiteX10" fmla="*/ 254895 w 332854"/>
              <a:gd name="connsiteY10" fmla="*/ 288924 h 288924"/>
              <a:gd name="connsiteX11" fmla="*/ 253513 w 332854"/>
              <a:gd name="connsiteY11" fmla="*/ 288924 h 288924"/>
              <a:gd name="connsiteX12" fmla="*/ 243837 w 332854"/>
              <a:gd name="connsiteY12" fmla="*/ 288924 h 288924"/>
              <a:gd name="connsiteX13" fmla="*/ 217573 w 332854"/>
              <a:gd name="connsiteY13" fmla="*/ 288924 h 288924"/>
              <a:gd name="connsiteX14" fmla="*/ 166428 w 332854"/>
              <a:gd name="connsiteY14" fmla="*/ 288924 h 288924"/>
              <a:gd name="connsiteX15" fmla="*/ 165046 w 332854"/>
              <a:gd name="connsiteY15" fmla="*/ 288924 h 288924"/>
              <a:gd name="connsiteX16" fmla="*/ 155370 w 332854"/>
              <a:gd name="connsiteY16" fmla="*/ 288924 h 288924"/>
              <a:gd name="connsiteX17" fmla="*/ 129106 w 332854"/>
              <a:gd name="connsiteY17" fmla="*/ 288924 h 288924"/>
              <a:gd name="connsiteX18" fmla="*/ 77962 w 332854"/>
              <a:gd name="connsiteY18" fmla="*/ 288924 h 288924"/>
              <a:gd name="connsiteX19" fmla="*/ 26189 w 332854"/>
              <a:gd name="connsiteY19" fmla="*/ 199375 h 288924"/>
              <a:gd name="connsiteX20" fmla="*/ 236869 w 332854"/>
              <a:gd name="connsiteY20" fmla="*/ 0 h 288924"/>
              <a:gd name="connsiteX21" fmla="*/ 237811 w 332854"/>
              <a:gd name="connsiteY21" fmla="*/ 0 h 288924"/>
              <a:gd name="connsiteX22" fmla="*/ 244408 w 332854"/>
              <a:gd name="connsiteY22" fmla="*/ 0 h 288924"/>
              <a:gd name="connsiteX23" fmla="*/ 332854 w 332854"/>
              <a:gd name="connsiteY23" fmla="*/ 153506 h 288924"/>
              <a:gd name="connsiteX24" fmla="*/ 281595 w 332854"/>
              <a:gd name="connsiteY24" fmla="*/ 243093 h 288924"/>
              <a:gd name="connsiteX25" fmla="*/ 279082 w 332854"/>
              <a:gd name="connsiteY25" fmla="*/ 230008 h 288924"/>
              <a:gd name="connsiteX26" fmla="*/ 272047 w 332854"/>
              <a:gd name="connsiteY26" fmla="*/ 208366 h 288924"/>
              <a:gd name="connsiteX27" fmla="*/ 259483 w 332854"/>
              <a:gd name="connsiteY27" fmla="*/ 182194 h 288924"/>
              <a:gd name="connsiteX28" fmla="*/ 221290 w 332854"/>
              <a:gd name="connsiteY28" fmla="*/ 115759 h 288924"/>
              <a:gd name="connsiteX29" fmla="*/ 182595 w 332854"/>
              <a:gd name="connsiteY29" fmla="*/ 49323 h 288924"/>
              <a:gd name="connsiteX30" fmla="*/ 176565 w 332854"/>
              <a:gd name="connsiteY30" fmla="*/ 38754 h 288924"/>
              <a:gd name="connsiteX31" fmla="*/ 187620 w 332854"/>
              <a:gd name="connsiteY31" fmla="*/ 25668 h 288924"/>
              <a:gd name="connsiteX32" fmla="*/ 214758 w 332854"/>
              <a:gd name="connsiteY32" fmla="*/ 4530 h 288924"/>
              <a:gd name="connsiteX33" fmla="*/ 236869 w 332854"/>
              <a:gd name="connsiteY33" fmla="*/ 0 h 288924"/>
              <a:gd name="connsiteX34" fmla="*/ 88490 w 332854"/>
              <a:gd name="connsiteY34" fmla="*/ 0 h 288924"/>
              <a:gd name="connsiteX35" fmla="*/ 90100 w 332854"/>
              <a:gd name="connsiteY35" fmla="*/ 0 h 288924"/>
              <a:gd name="connsiteX36" fmla="*/ 101374 w 332854"/>
              <a:gd name="connsiteY36" fmla="*/ 0 h 288924"/>
              <a:gd name="connsiteX37" fmla="*/ 131973 w 332854"/>
              <a:gd name="connsiteY37" fmla="*/ 0 h 288924"/>
              <a:gd name="connsiteX38" fmla="*/ 157539 w 332854"/>
              <a:gd name="connsiteY38" fmla="*/ 0 h 288924"/>
              <a:gd name="connsiteX39" fmla="*/ 191560 w 332854"/>
              <a:gd name="connsiteY39" fmla="*/ 0 h 288924"/>
              <a:gd name="connsiteX40" fmla="*/ 181504 w 332854"/>
              <a:gd name="connsiteY40" fmla="*/ 9059 h 288924"/>
              <a:gd name="connsiteX41" fmla="*/ 166421 w 332854"/>
              <a:gd name="connsiteY41" fmla="*/ 25666 h 288924"/>
              <a:gd name="connsiteX42" fmla="*/ 150332 w 332854"/>
              <a:gd name="connsiteY42" fmla="*/ 49319 h 288924"/>
              <a:gd name="connsiteX43" fmla="*/ 111617 w 332854"/>
              <a:gd name="connsiteY43" fmla="*/ 115748 h 288924"/>
              <a:gd name="connsiteX44" fmla="*/ 72903 w 332854"/>
              <a:gd name="connsiteY44" fmla="*/ 182178 h 288924"/>
              <a:gd name="connsiteX45" fmla="*/ 67373 w 332854"/>
              <a:gd name="connsiteY45" fmla="*/ 193250 h 288924"/>
              <a:gd name="connsiteX46" fmla="*/ 50278 w 332854"/>
              <a:gd name="connsiteY46" fmla="*/ 189727 h 288924"/>
              <a:gd name="connsiteX47" fmla="*/ 18603 w 332854"/>
              <a:gd name="connsiteY47" fmla="*/ 176643 h 288924"/>
              <a:gd name="connsiteX48" fmla="*/ 3520 w 332854"/>
              <a:gd name="connsiteY48" fmla="*/ 160035 h 288924"/>
              <a:gd name="connsiteX49" fmla="*/ 0 w 332854"/>
              <a:gd name="connsiteY49" fmla="*/ 153493 h 288924"/>
              <a:gd name="connsiteX50" fmla="*/ 2514 w 332854"/>
              <a:gd name="connsiteY50" fmla="*/ 148963 h 288924"/>
              <a:gd name="connsiteX51" fmla="*/ 88490 w 332854"/>
              <a:gd name="connsiteY51" fmla="*/ 0 h 2889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</a:cxnLst>
            <a:rect l="l" t="t" r="r" b="b"/>
            <a:pathLst>
              <a:path w="332854" h="288924">
                <a:moveTo>
                  <a:pt x="26189" y="199375"/>
                </a:moveTo>
                <a:cubicBezTo>
                  <a:pt x="29708" y="200884"/>
                  <a:pt x="34232" y="202394"/>
                  <a:pt x="38755" y="203399"/>
                </a:cubicBezTo>
                <a:cubicBezTo>
                  <a:pt x="44787" y="204909"/>
                  <a:pt x="57354" y="207927"/>
                  <a:pt x="60872" y="208430"/>
                </a:cubicBezTo>
                <a:cubicBezTo>
                  <a:pt x="72433" y="210442"/>
                  <a:pt x="82989" y="210442"/>
                  <a:pt x="89523" y="210442"/>
                </a:cubicBezTo>
                <a:cubicBezTo>
                  <a:pt x="89523" y="210442"/>
                  <a:pt x="89523" y="210442"/>
                  <a:pt x="166428" y="210442"/>
                </a:cubicBezTo>
                <a:cubicBezTo>
                  <a:pt x="166428" y="210442"/>
                  <a:pt x="166428" y="210442"/>
                  <a:pt x="243335" y="210442"/>
                </a:cubicBezTo>
                <a:cubicBezTo>
                  <a:pt x="246350" y="210442"/>
                  <a:pt x="250371" y="210442"/>
                  <a:pt x="255398" y="210442"/>
                </a:cubicBezTo>
                <a:cubicBezTo>
                  <a:pt x="257408" y="216480"/>
                  <a:pt x="260927" y="226038"/>
                  <a:pt x="260927" y="226542"/>
                </a:cubicBezTo>
                <a:cubicBezTo>
                  <a:pt x="265451" y="238616"/>
                  <a:pt x="266959" y="250186"/>
                  <a:pt x="265953" y="260752"/>
                </a:cubicBezTo>
                <a:cubicBezTo>
                  <a:pt x="264446" y="270814"/>
                  <a:pt x="260927" y="277857"/>
                  <a:pt x="258916" y="282384"/>
                </a:cubicBezTo>
                <a:lnTo>
                  <a:pt x="254895" y="288924"/>
                </a:lnTo>
                <a:lnTo>
                  <a:pt x="253513" y="288924"/>
                </a:lnTo>
                <a:lnTo>
                  <a:pt x="243837" y="288924"/>
                </a:lnTo>
                <a:lnTo>
                  <a:pt x="217573" y="288924"/>
                </a:lnTo>
                <a:lnTo>
                  <a:pt x="166428" y="288924"/>
                </a:lnTo>
                <a:lnTo>
                  <a:pt x="165046" y="288924"/>
                </a:lnTo>
                <a:lnTo>
                  <a:pt x="155370" y="288924"/>
                </a:lnTo>
                <a:lnTo>
                  <a:pt x="129106" y="288924"/>
                </a:lnTo>
                <a:lnTo>
                  <a:pt x="77962" y="288924"/>
                </a:lnTo>
                <a:cubicBezTo>
                  <a:pt x="77962" y="288924"/>
                  <a:pt x="77962" y="288924"/>
                  <a:pt x="26189" y="199375"/>
                </a:cubicBezTo>
                <a:close/>
                <a:moveTo>
                  <a:pt x="236869" y="0"/>
                </a:moveTo>
                <a:lnTo>
                  <a:pt x="237811" y="0"/>
                </a:lnTo>
                <a:lnTo>
                  <a:pt x="244408" y="0"/>
                </a:lnTo>
                <a:cubicBezTo>
                  <a:pt x="244408" y="0"/>
                  <a:pt x="244408" y="0"/>
                  <a:pt x="332854" y="153506"/>
                </a:cubicBezTo>
                <a:cubicBezTo>
                  <a:pt x="332854" y="153506"/>
                  <a:pt x="332854" y="153506"/>
                  <a:pt x="281595" y="243093"/>
                </a:cubicBezTo>
                <a:cubicBezTo>
                  <a:pt x="280590" y="239066"/>
                  <a:pt x="280088" y="234536"/>
                  <a:pt x="279082" y="230008"/>
                </a:cubicBezTo>
                <a:cubicBezTo>
                  <a:pt x="277072" y="223968"/>
                  <a:pt x="273053" y="211385"/>
                  <a:pt x="272047" y="208366"/>
                </a:cubicBezTo>
                <a:cubicBezTo>
                  <a:pt x="268026" y="197293"/>
                  <a:pt x="262499" y="188234"/>
                  <a:pt x="259483" y="182194"/>
                </a:cubicBezTo>
                <a:cubicBezTo>
                  <a:pt x="246418" y="159546"/>
                  <a:pt x="221290" y="115759"/>
                  <a:pt x="221290" y="115759"/>
                </a:cubicBezTo>
                <a:cubicBezTo>
                  <a:pt x="221290" y="115759"/>
                  <a:pt x="195661" y="71972"/>
                  <a:pt x="182595" y="49323"/>
                </a:cubicBezTo>
                <a:cubicBezTo>
                  <a:pt x="181088" y="46304"/>
                  <a:pt x="179078" y="42780"/>
                  <a:pt x="176565" y="38754"/>
                </a:cubicBezTo>
                <a:cubicBezTo>
                  <a:pt x="180585" y="33722"/>
                  <a:pt x="187118" y="26675"/>
                  <a:pt x="187620" y="25668"/>
                </a:cubicBezTo>
                <a:cubicBezTo>
                  <a:pt x="195661" y="16105"/>
                  <a:pt x="205209" y="9060"/>
                  <a:pt x="214758" y="4530"/>
                </a:cubicBezTo>
                <a:cubicBezTo>
                  <a:pt x="223804" y="1007"/>
                  <a:pt x="231844" y="0"/>
                  <a:pt x="236869" y="0"/>
                </a:cubicBezTo>
                <a:close/>
                <a:moveTo>
                  <a:pt x="88490" y="0"/>
                </a:moveTo>
                <a:lnTo>
                  <a:pt x="90100" y="0"/>
                </a:lnTo>
                <a:lnTo>
                  <a:pt x="101374" y="0"/>
                </a:lnTo>
                <a:lnTo>
                  <a:pt x="131973" y="0"/>
                </a:lnTo>
                <a:lnTo>
                  <a:pt x="157539" y="0"/>
                </a:lnTo>
                <a:lnTo>
                  <a:pt x="191560" y="0"/>
                </a:lnTo>
                <a:cubicBezTo>
                  <a:pt x="188040" y="2517"/>
                  <a:pt x="185024" y="5535"/>
                  <a:pt x="181504" y="9059"/>
                </a:cubicBezTo>
                <a:cubicBezTo>
                  <a:pt x="176980" y="13084"/>
                  <a:pt x="168934" y="22646"/>
                  <a:pt x="166421" y="25666"/>
                </a:cubicBezTo>
                <a:cubicBezTo>
                  <a:pt x="158879" y="34725"/>
                  <a:pt x="153349" y="43280"/>
                  <a:pt x="150332" y="49319"/>
                </a:cubicBezTo>
                <a:cubicBezTo>
                  <a:pt x="136756" y="71965"/>
                  <a:pt x="111617" y="115748"/>
                  <a:pt x="111617" y="115748"/>
                </a:cubicBezTo>
                <a:cubicBezTo>
                  <a:pt x="111617" y="115748"/>
                  <a:pt x="86479" y="159532"/>
                  <a:pt x="72903" y="182178"/>
                </a:cubicBezTo>
                <a:cubicBezTo>
                  <a:pt x="71395" y="185198"/>
                  <a:pt x="69886" y="188721"/>
                  <a:pt x="67373" y="193250"/>
                </a:cubicBezTo>
                <a:cubicBezTo>
                  <a:pt x="60837" y="191740"/>
                  <a:pt x="51284" y="190230"/>
                  <a:pt x="50278" y="189727"/>
                </a:cubicBezTo>
                <a:cubicBezTo>
                  <a:pt x="37709" y="187715"/>
                  <a:pt x="27150" y="183185"/>
                  <a:pt x="18603" y="176643"/>
                </a:cubicBezTo>
                <a:cubicBezTo>
                  <a:pt x="10558" y="170604"/>
                  <a:pt x="6033" y="164062"/>
                  <a:pt x="3520" y="160035"/>
                </a:cubicBezTo>
                <a:cubicBezTo>
                  <a:pt x="3520" y="160035"/>
                  <a:pt x="3520" y="160035"/>
                  <a:pt x="0" y="153493"/>
                </a:cubicBezTo>
                <a:cubicBezTo>
                  <a:pt x="0" y="153493"/>
                  <a:pt x="0" y="153493"/>
                  <a:pt x="2514" y="148963"/>
                </a:cubicBezTo>
                <a:cubicBezTo>
                  <a:pt x="2514" y="148963"/>
                  <a:pt x="2514" y="148963"/>
                  <a:pt x="88490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r>
              <a:rPr lang="en-US" noProof="0"/>
              <a:t>Click icon to add SmartArt graphic</a:t>
            </a:r>
            <a:endParaRPr lang="de-DE" noProof="0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359D8B67-F448-4FDD-984D-6E7554F5EF4A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336550" y="1"/>
            <a:ext cx="5688012" cy="1125538"/>
          </a:xfrm>
        </p:spPr>
        <p:txBody>
          <a:bodyPr vert="horz" rIns="0"/>
          <a:lstStyle/>
          <a:p>
            <a:r>
              <a:rPr lang="en-US" noProof="0"/>
              <a:t>Click to edit Master title style</a:t>
            </a:r>
            <a:endParaRPr lang="de-DE" noProof="0" dirty="0"/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17DAB839-6EDD-4178-BE8E-588EF7241AAC}"/>
              </a:ext>
            </a:extLst>
          </p:cNvPr>
          <p:cNvSpPr>
            <a:spLocks noGrp="1"/>
          </p:cNvSpPr>
          <p:nvPr>
            <p:ph type="dt" sz="half" idx="16"/>
          </p:nvPr>
        </p:nvSpPr>
        <p:spPr bwMode="gray"/>
        <p:txBody>
          <a:bodyPr/>
          <a:lstStyle/>
          <a:p>
            <a:fld id="{F42C6A59-D5EA-4A5D-99CB-FD9ABC8DA040}" type="datetime1">
              <a:rPr lang="de-DE" noProof="0" smtClean="0"/>
              <a:t>22.10.2023</a:t>
            </a:fld>
            <a:endParaRPr lang="de-DE" sz="800" noProof="0"/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67DBB78D-8B69-45E8-8385-9B8830A13C02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 bwMode="gray"/>
        <p:txBody>
          <a:bodyPr/>
          <a:lstStyle/>
          <a:p>
            <a:pPr algn="ctr"/>
            <a:r>
              <a:rPr lang="de-DE" noProof="0"/>
              <a:t>Commerzbank AG, Max Mustermann, GM-C Brand Management </a:t>
            </a: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A35C623B-FA1D-4980-87F5-04FA7F9DBE12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 bwMode="gray"/>
        <p:txBody>
          <a:bodyPr/>
          <a:lstStyle/>
          <a:p>
            <a:fld id="{CAEFDB47-5D1C-45E7-8BD0-EF74349B00F7}" type="slidenum">
              <a:rPr lang="de-DE" noProof="0" smtClean="0"/>
              <a:pPr/>
              <a:t>‹#›</a:t>
            </a:fld>
            <a:endParaRPr lang="de-DE" b="1" noProof="0"/>
          </a:p>
        </p:txBody>
      </p:sp>
      <p:sp>
        <p:nvSpPr>
          <p:cNvPr id="13" name="Textplatzhalter 14">
            <a:extLst>
              <a:ext uri="{FF2B5EF4-FFF2-40B4-BE49-F238E27FC236}">
                <a16:creationId xmlns:a16="http://schemas.microsoft.com/office/drawing/2014/main" id="{687DD334-3B2F-492A-B1F9-37793F971B0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>
          <a:xfrm>
            <a:off x="336550" y="1411288"/>
            <a:ext cx="5688012" cy="5041901"/>
          </a:xfrm>
        </p:spPr>
        <p:txBody>
          <a:bodyPr rIns="144000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66885154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vider Petrol / Imag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9A50A06-F1AD-43B0-B0C8-484379FAC66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invGray">
          <a:xfrm>
            <a:off x="336550" y="1412874"/>
            <a:ext cx="11520488" cy="3311525"/>
          </a:xfrm>
        </p:spPr>
        <p:txBody>
          <a:bodyPr rIns="0" bIns="144000" anchor="b"/>
          <a:lstStyle>
            <a:lvl1pPr algn="ctr">
              <a:defRPr sz="6600">
                <a:solidFill>
                  <a:schemeClr val="bg1"/>
                </a:solidFill>
              </a:defRPr>
            </a:lvl1pPr>
          </a:lstStyle>
          <a:p>
            <a:r>
              <a:rPr lang="de-DE" noProof="0"/>
              <a:t>Diese Folie </a:t>
            </a:r>
            <a:br>
              <a:rPr lang="de-DE" noProof="0"/>
            </a:br>
            <a:r>
              <a:rPr lang="de-DE" noProof="0"/>
              <a:t>dient zur Trennung </a:t>
            </a:r>
            <a:br>
              <a:rPr lang="de-DE" noProof="0"/>
            </a:br>
            <a:r>
              <a:rPr lang="de-DE" noProof="0"/>
              <a:t>zweier Kapitel.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95C52B9B-1FC0-4A8D-A22E-A6CDD925629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invGray">
          <a:xfrm>
            <a:off x="3251684" y="5445000"/>
            <a:ext cx="5689116" cy="574675"/>
          </a:xfrm>
        </p:spPr>
        <p:txBody>
          <a:bodyPr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bg1"/>
                </a:solidFill>
              </a:defRPr>
            </a:lvl1pPr>
            <a:lvl2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bg1"/>
                </a:solidFill>
              </a:defRPr>
            </a:lvl2pPr>
            <a:lvl3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bg1"/>
                </a:solidFill>
              </a:defRPr>
            </a:lvl3pPr>
            <a:lvl4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bg1"/>
                </a:solidFill>
              </a:defRPr>
            </a:lvl4pPr>
            <a:lvl5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bg1"/>
                </a:solidFill>
              </a:defRPr>
            </a:lvl5pPr>
            <a:lvl6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bg1"/>
                </a:solidFill>
              </a:defRPr>
            </a:lvl6pPr>
            <a:lvl7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bg1"/>
                </a:solidFill>
              </a:defRPr>
            </a:lvl7pPr>
            <a:lvl8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bg1"/>
                </a:solidFill>
              </a:defRPr>
            </a:lvl8pPr>
            <a:lvl9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Kapitel Nr. #</a:t>
            </a:r>
          </a:p>
          <a:p>
            <a:pPr lvl="0"/>
            <a:r>
              <a:rPr lang="de-DE" noProof="0" dirty="0"/>
              <a:t>Mastertextformat bearbeiten</a:t>
            </a:r>
          </a:p>
        </p:txBody>
      </p:sp>
      <p:sp>
        <p:nvSpPr>
          <p:cNvPr id="12" name="Google Shape;192;p37">
            <a:extLst>
              <a:ext uri="{FF2B5EF4-FFF2-40B4-BE49-F238E27FC236}">
                <a16:creationId xmlns:a16="http://schemas.microsoft.com/office/drawing/2014/main" id="{A89D66A7-79C9-49DD-B8D8-7E63C48072E6}"/>
              </a:ext>
            </a:extLst>
          </p:cNvPr>
          <p:cNvSpPr/>
          <p:nvPr userDrawn="1"/>
        </p:nvSpPr>
        <p:spPr bwMode="gray">
          <a:xfrm>
            <a:off x="5232000" y="4868863"/>
            <a:ext cx="1731102" cy="142423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>
            <a:noFill/>
          </a:ln>
        </p:spPr>
        <p:txBody>
          <a:bodyPr spcFirstLastPara="1" wrap="square" lIns="91450" tIns="45700" rIns="91450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de-DE" sz="1800" noProof="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BBD31473-88F9-4CEE-AEF0-7B7AB8363EA6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inv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C726666-1F32-421F-8735-82C38FEE1D17}" type="datetime1">
              <a:rPr lang="de-DE" noProof="0" smtClean="0"/>
              <a:t>22.10.2023</a:t>
            </a:fld>
            <a:endParaRPr lang="de-DE" noProof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0676F9B-52E6-466E-9EB1-5E81CDC2302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inv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/>
              <a:t>Commerzbank AG, Max Mustermann, GM-C Brand Management 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5FE0B6A-A753-45D4-9CE4-04A49176BE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inv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AEFDB47-5D1C-45E7-8BD0-EF74349B00F7}" type="slidenum">
              <a:rPr lang="de-DE" noProof="0" smtClean="0"/>
              <a:pPr/>
              <a:t>‹#›</a:t>
            </a:fld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60244808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Picture Fullsiz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hteck 14">
            <a:extLst>
              <a:ext uri="{FF2B5EF4-FFF2-40B4-BE49-F238E27FC236}">
                <a16:creationId xmlns:a16="http://schemas.microsoft.com/office/drawing/2014/main" id="{3D84946B-E163-4ADA-8A99-DC1319431949}"/>
              </a:ext>
            </a:extLst>
          </p:cNvPr>
          <p:cNvSpPr/>
          <p:nvPr userDrawn="1"/>
        </p:nvSpPr>
        <p:spPr bwMode="gray">
          <a:xfrm>
            <a:off x="0" y="0"/>
            <a:ext cx="12192000" cy="645318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sz="1200" b="1">
              <a:solidFill>
                <a:schemeClr val="bg1"/>
              </a:solidFill>
            </a:endParaRPr>
          </a:p>
        </p:txBody>
      </p:sp>
      <p:sp>
        <p:nvSpPr>
          <p:cNvPr id="10" name="Bildplatzhalter 8">
            <a:extLst>
              <a:ext uri="{FF2B5EF4-FFF2-40B4-BE49-F238E27FC236}">
                <a16:creationId xmlns:a16="http://schemas.microsoft.com/office/drawing/2014/main" id="{CEC443DD-2BF6-4B18-84D7-A28FE56FF26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0" y="0"/>
            <a:ext cx="12192000" cy="6453188"/>
          </a:xfrm>
          <a:solidFill>
            <a:schemeClr val="accent1"/>
          </a:solidFill>
        </p:spPr>
        <p:txBody>
          <a:bodyPr lIns="0" tIns="0" rIns="0" bIns="576000" anchor="b"/>
          <a:lstStyle>
            <a:lvl1pPr marL="0" indent="0" algn="ctr">
              <a:buNone/>
              <a:defRPr sz="800">
                <a:solidFill>
                  <a:schemeClr val="accent6"/>
                </a:solidFill>
              </a:defRPr>
            </a:lvl1pPr>
          </a:lstStyle>
          <a:p>
            <a:r>
              <a:rPr lang="de-DE" noProof="0" dirty="0"/>
              <a:t>Fügen Sie ein Bild über Klicken auf das Symbol ein. </a:t>
            </a: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Alternativ kopieren Sie ein Bild in die Zwischenablage, </a:t>
            </a:r>
            <a:br>
              <a:rPr lang="de-DE" noProof="0" dirty="0"/>
            </a:br>
            <a:r>
              <a:rPr lang="de-DE" noProof="0" dirty="0"/>
              <a:t>wählen Sie den Platzhalter an und klicken Sie einfügen. </a:t>
            </a: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Achten Sie darauf, dass das Logo im Vordergrund ist und </a:t>
            </a:r>
            <a:br>
              <a:rPr lang="de-DE" noProof="0" dirty="0"/>
            </a:br>
            <a:r>
              <a:rPr lang="de-DE" noProof="0" dirty="0"/>
              <a:t>wählen Sie bei hellen Bildern Petrol als Logofarbe.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82F830EA-47C1-4965-BD05-B1B8E92212E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1722437" y="1412876"/>
            <a:ext cx="7218363" cy="3311524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1200"/>
              </a:spcBef>
              <a:spcAft>
                <a:spcPts val="1200"/>
              </a:spcAft>
              <a:buNone/>
              <a:defRPr sz="4800" b="1">
                <a:solidFill>
                  <a:schemeClr val="bg1"/>
                </a:solidFill>
              </a:defRPr>
            </a:lvl1pPr>
            <a:lvl2pPr marL="0" indent="0">
              <a:spcBef>
                <a:spcPts val="600"/>
              </a:spcBef>
              <a:spcAft>
                <a:spcPts val="0"/>
              </a:spcAft>
              <a:buClrTx/>
              <a:buNone/>
              <a:defRPr>
                <a:solidFill>
                  <a:schemeClr val="bg1"/>
                </a:solidFill>
              </a:defRPr>
            </a:lvl2pPr>
            <a:lvl3pPr marL="180000" indent="-180000">
              <a:buClrTx/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 marL="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</a:defRPr>
            </a:lvl5pPr>
            <a:lvl6pPr marL="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</a:defRPr>
            </a:lvl6pPr>
            <a:lvl7pPr marL="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</a:defRPr>
            </a:lvl7pPr>
            <a:lvl8pPr marL="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</a:defRPr>
            </a:lvl8pPr>
            <a:lvl9pPr marL="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  <p:sp>
        <p:nvSpPr>
          <p:cNvPr id="12" name="SmartArt-Platzhalter 11">
            <a:extLst>
              <a:ext uri="{FF2B5EF4-FFF2-40B4-BE49-F238E27FC236}">
                <a16:creationId xmlns:a16="http://schemas.microsoft.com/office/drawing/2014/main" id="{90E25250-96E1-4A78-9EE6-8AD9112BF777}"/>
              </a:ext>
            </a:extLst>
          </p:cNvPr>
          <p:cNvSpPr>
            <a:spLocks noGrp="1"/>
          </p:cNvSpPr>
          <p:nvPr>
            <p:ph type="dgm" sz="quarter" idx="15"/>
          </p:nvPr>
        </p:nvSpPr>
        <p:spPr bwMode="gray">
          <a:xfrm>
            <a:off x="11522271" y="260351"/>
            <a:ext cx="332854" cy="288924"/>
          </a:xfrm>
          <a:custGeom>
            <a:avLst/>
            <a:gdLst>
              <a:gd name="connsiteX0" fmla="*/ 26189 w 332854"/>
              <a:gd name="connsiteY0" fmla="*/ 199375 h 288924"/>
              <a:gd name="connsiteX1" fmla="*/ 38755 w 332854"/>
              <a:gd name="connsiteY1" fmla="*/ 203399 h 288924"/>
              <a:gd name="connsiteX2" fmla="*/ 60872 w 332854"/>
              <a:gd name="connsiteY2" fmla="*/ 208430 h 288924"/>
              <a:gd name="connsiteX3" fmla="*/ 89523 w 332854"/>
              <a:gd name="connsiteY3" fmla="*/ 210442 h 288924"/>
              <a:gd name="connsiteX4" fmla="*/ 166428 w 332854"/>
              <a:gd name="connsiteY4" fmla="*/ 210442 h 288924"/>
              <a:gd name="connsiteX5" fmla="*/ 243335 w 332854"/>
              <a:gd name="connsiteY5" fmla="*/ 210442 h 288924"/>
              <a:gd name="connsiteX6" fmla="*/ 255398 w 332854"/>
              <a:gd name="connsiteY6" fmla="*/ 210442 h 288924"/>
              <a:gd name="connsiteX7" fmla="*/ 260927 w 332854"/>
              <a:gd name="connsiteY7" fmla="*/ 226542 h 288924"/>
              <a:gd name="connsiteX8" fmla="*/ 265953 w 332854"/>
              <a:gd name="connsiteY8" fmla="*/ 260752 h 288924"/>
              <a:gd name="connsiteX9" fmla="*/ 258916 w 332854"/>
              <a:gd name="connsiteY9" fmla="*/ 282384 h 288924"/>
              <a:gd name="connsiteX10" fmla="*/ 254895 w 332854"/>
              <a:gd name="connsiteY10" fmla="*/ 288924 h 288924"/>
              <a:gd name="connsiteX11" fmla="*/ 253513 w 332854"/>
              <a:gd name="connsiteY11" fmla="*/ 288924 h 288924"/>
              <a:gd name="connsiteX12" fmla="*/ 243837 w 332854"/>
              <a:gd name="connsiteY12" fmla="*/ 288924 h 288924"/>
              <a:gd name="connsiteX13" fmla="*/ 217573 w 332854"/>
              <a:gd name="connsiteY13" fmla="*/ 288924 h 288924"/>
              <a:gd name="connsiteX14" fmla="*/ 166428 w 332854"/>
              <a:gd name="connsiteY14" fmla="*/ 288924 h 288924"/>
              <a:gd name="connsiteX15" fmla="*/ 165046 w 332854"/>
              <a:gd name="connsiteY15" fmla="*/ 288924 h 288924"/>
              <a:gd name="connsiteX16" fmla="*/ 155370 w 332854"/>
              <a:gd name="connsiteY16" fmla="*/ 288924 h 288924"/>
              <a:gd name="connsiteX17" fmla="*/ 129106 w 332854"/>
              <a:gd name="connsiteY17" fmla="*/ 288924 h 288924"/>
              <a:gd name="connsiteX18" fmla="*/ 77962 w 332854"/>
              <a:gd name="connsiteY18" fmla="*/ 288924 h 288924"/>
              <a:gd name="connsiteX19" fmla="*/ 26189 w 332854"/>
              <a:gd name="connsiteY19" fmla="*/ 199375 h 288924"/>
              <a:gd name="connsiteX20" fmla="*/ 236869 w 332854"/>
              <a:gd name="connsiteY20" fmla="*/ 0 h 288924"/>
              <a:gd name="connsiteX21" fmla="*/ 237811 w 332854"/>
              <a:gd name="connsiteY21" fmla="*/ 0 h 288924"/>
              <a:gd name="connsiteX22" fmla="*/ 244408 w 332854"/>
              <a:gd name="connsiteY22" fmla="*/ 0 h 288924"/>
              <a:gd name="connsiteX23" fmla="*/ 332854 w 332854"/>
              <a:gd name="connsiteY23" fmla="*/ 153506 h 288924"/>
              <a:gd name="connsiteX24" fmla="*/ 281595 w 332854"/>
              <a:gd name="connsiteY24" fmla="*/ 243093 h 288924"/>
              <a:gd name="connsiteX25" fmla="*/ 279082 w 332854"/>
              <a:gd name="connsiteY25" fmla="*/ 230008 h 288924"/>
              <a:gd name="connsiteX26" fmla="*/ 272047 w 332854"/>
              <a:gd name="connsiteY26" fmla="*/ 208366 h 288924"/>
              <a:gd name="connsiteX27" fmla="*/ 259483 w 332854"/>
              <a:gd name="connsiteY27" fmla="*/ 182194 h 288924"/>
              <a:gd name="connsiteX28" fmla="*/ 221290 w 332854"/>
              <a:gd name="connsiteY28" fmla="*/ 115759 h 288924"/>
              <a:gd name="connsiteX29" fmla="*/ 182595 w 332854"/>
              <a:gd name="connsiteY29" fmla="*/ 49323 h 288924"/>
              <a:gd name="connsiteX30" fmla="*/ 176565 w 332854"/>
              <a:gd name="connsiteY30" fmla="*/ 38754 h 288924"/>
              <a:gd name="connsiteX31" fmla="*/ 187620 w 332854"/>
              <a:gd name="connsiteY31" fmla="*/ 25668 h 288924"/>
              <a:gd name="connsiteX32" fmla="*/ 214758 w 332854"/>
              <a:gd name="connsiteY32" fmla="*/ 4530 h 288924"/>
              <a:gd name="connsiteX33" fmla="*/ 236869 w 332854"/>
              <a:gd name="connsiteY33" fmla="*/ 0 h 288924"/>
              <a:gd name="connsiteX34" fmla="*/ 88490 w 332854"/>
              <a:gd name="connsiteY34" fmla="*/ 0 h 288924"/>
              <a:gd name="connsiteX35" fmla="*/ 90100 w 332854"/>
              <a:gd name="connsiteY35" fmla="*/ 0 h 288924"/>
              <a:gd name="connsiteX36" fmla="*/ 101374 w 332854"/>
              <a:gd name="connsiteY36" fmla="*/ 0 h 288924"/>
              <a:gd name="connsiteX37" fmla="*/ 131973 w 332854"/>
              <a:gd name="connsiteY37" fmla="*/ 0 h 288924"/>
              <a:gd name="connsiteX38" fmla="*/ 157539 w 332854"/>
              <a:gd name="connsiteY38" fmla="*/ 0 h 288924"/>
              <a:gd name="connsiteX39" fmla="*/ 191560 w 332854"/>
              <a:gd name="connsiteY39" fmla="*/ 0 h 288924"/>
              <a:gd name="connsiteX40" fmla="*/ 181504 w 332854"/>
              <a:gd name="connsiteY40" fmla="*/ 9059 h 288924"/>
              <a:gd name="connsiteX41" fmla="*/ 166421 w 332854"/>
              <a:gd name="connsiteY41" fmla="*/ 25666 h 288924"/>
              <a:gd name="connsiteX42" fmla="*/ 150332 w 332854"/>
              <a:gd name="connsiteY42" fmla="*/ 49319 h 288924"/>
              <a:gd name="connsiteX43" fmla="*/ 111617 w 332854"/>
              <a:gd name="connsiteY43" fmla="*/ 115748 h 288924"/>
              <a:gd name="connsiteX44" fmla="*/ 72903 w 332854"/>
              <a:gd name="connsiteY44" fmla="*/ 182178 h 288924"/>
              <a:gd name="connsiteX45" fmla="*/ 67373 w 332854"/>
              <a:gd name="connsiteY45" fmla="*/ 193250 h 288924"/>
              <a:gd name="connsiteX46" fmla="*/ 50278 w 332854"/>
              <a:gd name="connsiteY46" fmla="*/ 189727 h 288924"/>
              <a:gd name="connsiteX47" fmla="*/ 18603 w 332854"/>
              <a:gd name="connsiteY47" fmla="*/ 176643 h 288924"/>
              <a:gd name="connsiteX48" fmla="*/ 3520 w 332854"/>
              <a:gd name="connsiteY48" fmla="*/ 160035 h 288924"/>
              <a:gd name="connsiteX49" fmla="*/ 0 w 332854"/>
              <a:gd name="connsiteY49" fmla="*/ 153493 h 288924"/>
              <a:gd name="connsiteX50" fmla="*/ 2514 w 332854"/>
              <a:gd name="connsiteY50" fmla="*/ 148963 h 288924"/>
              <a:gd name="connsiteX51" fmla="*/ 88490 w 332854"/>
              <a:gd name="connsiteY51" fmla="*/ 0 h 2889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</a:cxnLst>
            <a:rect l="l" t="t" r="r" b="b"/>
            <a:pathLst>
              <a:path w="332854" h="288924">
                <a:moveTo>
                  <a:pt x="26189" y="199375"/>
                </a:moveTo>
                <a:cubicBezTo>
                  <a:pt x="29708" y="200884"/>
                  <a:pt x="34232" y="202394"/>
                  <a:pt x="38755" y="203399"/>
                </a:cubicBezTo>
                <a:cubicBezTo>
                  <a:pt x="44787" y="204909"/>
                  <a:pt x="57354" y="207927"/>
                  <a:pt x="60872" y="208430"/>
                </a:cubicBezTo>
                <a:cubicBezTo>
                  <a:pt x="72433" y="210442"/>
                  <a:pt x="82989" y="210442"/>
                  <a:pt x="89523" y="210442"/>
                </a:cubicBezTo>
                <a:cubicBezTo>
                  <a:pt x="89523" y="210442"/>
                  <a:pt x="89523" y="210442"/>
                  <a:pt x="166428" y="210442"/>
                </a:cubicBezTo>
                <a:cubicBezTo>
                  <a:pt x="166428" y="210442"/>
                  <a:pt x="166428" y="210442"/>
                  <a:pt x="243335" y="210442"/>
                </a:cubicBezTo>
                <a:cubicBezTo>
                  <a:pt x="246350" y="210442"/>
                  <a:pt x="250371" y="210442"/>
                  <a:pt x="255398" y="210442"/>
                </a:cubicBezTo>
                <a:cubicBezTo>
                  <a:pt x="257408" y="216480"/>
                  <a:pt x="260927" y="226038"/>
                  <a:pt x="260927" y="226542"/>
                </a:cubicBezTo>
                <a:cubicBezTo>
                  <a:pt x="265451" y="238616"/>
                  <a:pt x="266959" y="250186"/>
                  <a:pt x="265953" y="260752"/>
                </a:cubicBezTo>
                <a:cubicBezTo>
                  <a:pt x="264446" y="270814"/>
                  <a:pt x="260927" y="277857"/>
                  <a:pt x="258916" y="282384"/>
                </a:cubicBezTo>
                <a:lnTo>
                  <a:pt x="254895" y="288924"/>
                </a:lnTo>
                <a:lnTo>
                  <a:pt x="253513" y="288924"/>
                </a:lnTo>
                <a:lnTo>
                  <a:pt x="243837" y="288924"/>
                </a:lnTo>
                <a:lnTo>
                  <a:pt x="217573" y="288924"/>
                </a:lnTo>
                <a:lnTo>
                  <a:pt x="166428" y="288924"/>
                </a:lnTo>
                <a:lnTo>
                  <a:pt x="165046" y="288924"/>
                </a:lnTo>
                <a:lnTo>
                  <a:pt x="155370" y="288924"/>
                </a:lnTo>
                <a:lnTo>
                  <a:pt x="129106" y="288924"/>
                </a:lnTo>
                <a:lnTo>
                  <a:pt x="77962" y="288924"/>
                </a:lnTo>
                <a:cubicBezTo>
                  <a:pt x="77962" y="288924"/>
                  <a:pt x="77962" y="288924"/>
                  <a:pt x="26189" y="199375"/>
                </a:cubicBezTo>
                <a:close/>
                <a:moveTo>
                  <a:pt x="236869" y="0"/>
                </a:moveTo>
                <a:lnTo>
                  <a:pt x="237811" y="0"/>
                </a:lnTo>
                <a:lnTo>
                  <a:pt x="244408" y="0"/>
                </a:lnTo>
                <a:cubicBezTo>
                  <a:pt x="244408" y="0"/>
                  <a:pt x="244408" y="0"/>
                  <a:pt x="332854" y="153506"/>
                </a:cubicBezTo>
                <a:cubicBezTo>
                  <a:pt x="332854" y="153506"/>
                  <a:pt x="332854" y="153506"/>
                  <a:pt x="281595" y="243093"/>
                </a:cubicBezTo>
                <a:cubicBezTo>
                  <a:pt x="280590" y="239066"/>
                  <a:pt x="280088" y="234536"/>
                  <a:pt x="279082" y="230008"/>
                </a:cubicBezTo>
                <a:cubicBezTo>
                  <a:pt x="277072" y="223968"/>
                  <a:pt x="273053" y="211385"/>
                  <a:pt x="272047" y="208366"/>
                </a:cubicBezTo>
                <a:cubicBezTo>
                  <a:pt x="268026" y="197293"/>
                  <a:pt x="262499" y="188234"/>
                  <a:pt x="259483" y="182194"/>
                </a:cubicBezTo>
                <a:cubicBezTo>
                  <a:pt x="246418" y="159546"/>
                  <a:pt x="221290" y="115759"/>
                  <a:pt x="221290" y="115759"/>
                </a:cubicBezTo>
                <a:cubicBezTo>
                  <a:pt x="221290" y="115759"/>
                  <a:pt x="195661" y="71972"/>
                  <a:pt x="182595" y="49323"/>
                </a:cubicBezTo>
                <a:cubicBezTo>
                  <a:pt x="181088" y="46304"/>
                  <a:pt x="179078" y="42780"/>
                  <a:pt x="176565" y="38754"/>
                </a:cubicBezTo>
                <a:cubicBezTo>
                  <a:pt x="180585" y="33722"/>
                  <a:pt x="187118" y="26675"/>
                  <a:pt x="187620" y="25668"/>
                </a:cubicBezTo>
                <a:cubicBezTo>
                  <a:pt x="195661" y="16105"/>
                  <a:pt x="205209" y="9060"/>
                  <a:pt x="214758" y="4530"/>
                </a:cubicBezTo>
                <a:cubicBezTo>
                  <a:pt x="223804" y="1007"/>
                  <a:pt x="231844" y="0"/>
                  <a:pt x="236869" y="0"/>
                </a:cubicBezTo>
                <a:close/>
                <a:moveTo>
                  <a:pt x="88490" y="0"/>
                </a:moveTo>
                <a:lnTo>
                  <a:pt x="90100" y="0"/>
                </a:lnTo>
                <a:lnTo>
                  <a:pt x="101374" y="0"/>
                </a:lnTo>
                <a:lnTo>
                  <a:pt x="131973" y="0"/>
                </a:lnTo>
                <a:lnTo>
                  <a:pt x="157539" y="0"/>
                </a:lnTo>
                <a:lnTo>
                  <a:pt x="191560" y="0"/>
                </a:lnTo>
                <a:cubicBezTo>
                  <a:pt x="188040" y="2517"/>
                  <a:pt x="185024" y="5535"/>
                  <a:pt x="181504" y="9059"/>
                </a:cubicBezTo>
                <a:cubicBezTo>
                  <a:pt x="176980" y="13084"/>
                  <a:pt x="168934" y="22646"/>
                  <a:pt x="166421" y="25666"/>
                </a:cubicBezTo>
                <a:cubicBezTo>
                  <a:pt x="158879" y="34725"/>
                  <a:pt x="153349" y="43280"/>
                  <a:pt x="150332" y="49319"/>
                </a:cubicBezTo>
                <a:cubicBezTo>
                  <a:pt x="136756" y="71965"/>
                  <a:pt x="111617" y="115748"/>
                  <a:pt x="111617" y="115748"/>
                </a:cubicBezTo>
                <a:cubicBezTo>
                  <a:pt x="111617" y="115748"/>
                  <a:pt x="86479" y="159532"/>
                  <a:pt x="72903" y="182178"/>
                </a:cubicBezTo>
                <a:cubicBezTo>
                  <a:pt x="71395" y="185198"/>
                  <a:pt x="69886" y="188721"/>
                  <a:pt x="67373" y="193250"/>
                </a:cubicBezTo>
                <a:cubicBezTo>
                  <a:pt x="60837" y="191740"/>
                  <a:pt x="51284" y="190230"/>
                  <a:pt x="50278" y="189727"/>
                </a:cubicBezTo>
                <a:cubicBezTo>
                  <a:pt x="37709" y="187715"/>
                  <a:pt x="27150" y="183185"/>
                  <a:pt x="18603" y="176643"/>
                </a:cubicBezTo>
                <a:cubicBezTo>
                  <a:pt x="10558" y="170604"/>
                  <a:pt x="6033" y="164062"/>
                  <a:pt x="3520" y="160035"/>
                </a:cubicBezTo>
                <a:cubicBezTo>
                  <a:pt x="3520" y="160035"/>
                  <a:pt x="3520" y="160035"/>
                  <a:pt x="0" y="153493"/>
                </a:cubicBezTo>
                <a:cubicBezTo>
                  <a:pt x="0" y="153493"/>
                  <a:pt x="0" y="153493"/>
                  <a:pt x="2514" y="148963"/>
                </a:cubicBezTo>
                <a:cubicBezTo>
                  <a:pt x="2514" y="148963"/>
                  <a:pt x="2514" y="148963"/>
                  <a:pt x="88490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r>
              <a:rPr lang="en-US" noProof="0"/>
              <a:t>Click icon to add SmartArt graphic</a:t>
            </a:r>
            <a:endParaRPr lang="de-DE" noProof="0" dirty="0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ACF53ED3-38A7-4F5B-8F74-CF94F11AE3B5}"/>
              </a:ext>
            </a:extLst>
          </p:cNvPr>
          <p:cNvSpPr>
            <a:spLocks noGrp="1"/>
          </p:cNvSpPr>
          <p:nvPr>
            <p:ph type="dt" sz="half" idx="20"/>
          </p:nvPr>
        </p:nvSpPr>
        <p:spPr bwMode="gray"/>
        <p:txBody>
          <a:bodyPr/>
          <a:lstStyle/>
          <a:p>
            <a:fld id="{354587EC-2A70-4AA8-942F-DD71A2B82C88}" type="datetime1">
              <a:rPr lang="de-DE" noProof="0" smtClean="0"/>
              <a:t>22.10.2023</a:t>
            </a:fld>
            <a:endParaRPr lang="de-DE" sz="800" noProof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FDB4A587-2B48-47E5-8FC8-FCC736BF5F61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 bwMode="gray"/>
        <p:txBody>
          <a:bodyPr/>
          <a:lstStyle/>
          <a:p>
            <a:pPr algn="ctr"/>
            <a:r>
              <a:rPr lang="de-DE" noProof="0"/>
              <a:t>Commerzbank AG, Max Mustermann, GM-C Brand Management 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359E580F-6707-42B3-AB53-A8B38B0BBB54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 bwMode="gray"/>
        <p:txBody>
          <a:bodyPr/>
          <a:lstStyle/>
          <a:p>
            <a:fld id="{CAEFDB47-5D1C-45E7-8BD0-EF74349B00F7}" type="slidenum">
              <a:rPr lang="de-DE" noProof="0" smtClean="0"/>
              <a:pPr/>
              <a:t>‹#›</a:t>
            </a:fld>
            <a:endParaRPr lang="de-DE" b="1" noProof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4CF59287-810C-47D8-BAD6-E90E56A6D6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22436" y="836613"/>
            <a:ext cx="5094289" cy="574675"/>
          </a:xfrm>
        </p:spPr>
        <p:txBody>
          <a:bodyPr tIns="144000" rIns="0"/>
          <a:lstStyle>
            <a:lvl1pPr>
              <a:defRPr sz="12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55412918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2 x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F211E17-AEA1-4E11-9AC2-3A2199F9115D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noProof="0"/>
              <a:t>Click to edit Master title style</a:t>
            </a:r>
            <a:endParaRPr lang="de-DE" noProof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0358B7C0-0247-405F-8559-68AEBF15D2A5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B600E49A-8649-4AAC-A85A-83741020B512}" type="datetime1">
              <a:rPr lang="de-DE" noProof="0" smtClean="0"/>
              <a:t>22.10.2023</a:t>
            </a:fld>
            <a:endParaRPr lang="de-DE" sz="800" noProof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66AEAC1-3766-423F-81D5-D7FAEFFA55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pPr algn="ctr"/>
            <a:r>
              <a:rPr lang="de-DE" noProof="0"/>
              <a:t>Commerzbank AG, Max Mustermann, GM-C Brand Management 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1E4EAF3-3870-400C-8EC4-AC9F3893DE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CAEFDB47-5D1C-45E7-8BD0-EF74349B00F7}" type="slidenum">
              <a:rPr lang="de-DE" noProof="0" smtClean="0"/>
              <a:pPr/>
              <a:t>‹#›</a:t>
            </a:fld>
            <a:endParaRPr lang="de-DE" b="0" noProof="0"/>
          </a:p>
        </p:txBody>
      </p:sp>
      <p:sp>
        <p:nvSpPr>
          <p:cNvPr id="8" name="Bildplatzhalter 8">
            <a:extLst>
              <a:ext uri="{FF2B5EF4-FFF2-40B4-BE49-F238E27FC236}">
                <a16:creationId xmlns:a16="http://schemas.microsoft.com/office/drawing/2014/main" id="{C1CE1843-50B6-43F2-940C-3D088A7ED44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167438" y="1411288"/>
            <a:ext cx="2773363" cy="5041899"/>
          </a:xfrm>
          <a:noFill/>
        </p:spPr>
        <p:txBody>
          <a:bodyPr lIns="0" tIns="0" rIns="0" bIns="576000" anchor="b"/>
          <a:lstStyle>
            <a:lvl1pPr marL="0" indent="0" algn="ctr">
              <a:buNone/>
              <a:defRPr sz="800">
                <a:solidFill>
                  <a:schemeClr val="accent4"/>
                </a:solidFill>
              </a:defRPr>
            </a:lvl1pPr>
          </a:lstStyle>
          <a:p>
            <a:r>
              <a:rPr lang="de-DE" noProof="0" dirty="0"/>
              <a:t>Fügen Sie ein Bild über Klicken auf das Symbol ein. </a:t>
            </a: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Alternativ kopieren Sie ein Bild in die Zwischenablage, </a:t>
            </a:r>
            <a:br>
              <a:rPr lang="de-DE" noProof="0" dirty="0"/>
            </a:br>
            <a:r>
              <a:rPr lang="de-DE" noProof="0" dirty="0"/>
              <a:t>wählen Sie den Platzhalter an und klicken Sie einfügen. </a:t>
            </a:r>
          </a:p>
        </p:txBody>
      </p:sp>
      <p:sp>
        <p:nvSpPr>
          <p:cNvPr id="9" name="Bildplatzhalter 8">
            <a:extLst>
              <a:ext uri="{FF2B5EF4-FFF2-40B4-BE49-F238E27FC236}">
                <a16:creationId xmlns:a16="http://schemas.microsoft.com/office/drawing/2014/main" id="{7FE7000F-F103-49B3-A2C9-FE901A2D341F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9083674" y="1411288"/>
            <a:ext cx="2773363" cy="5041899"/>
          </a:xfrm>
          <a:noFill/>
        </p:spPr>
        <p:txBody>
          <a:bodyPr lIns="0" tIns="0" rIns="0" bIns="576000" anchor="b"/>
          <a:lstStyle>
            <a:lvl1pPr marL="0" indent="0" algn="ctr">
              <a:buNone/>
              <a:defRPr sz="800">
                <a:solidFill>
                  <a:schemeClr val="accent4"/>
                </a:solidFill>
              </a:defRPr>
            </a:lvl1pPr>
          </a:lstStyle>
          <a:p>
            <a:r>
              <a:rPr lang="de-DE" noProof="0"/>
              <a:t>Fügen Sie ein Bild über Klicken auf das Symbol ein. </a:t>
            </a:r>
            <a:br>
              <a:rPr lang="de-DE" noProof="0"/>
            </a:br>
            <a:br>
              <a:rPr lang="de-DE" noProof="0"/>
            </a:br>
            <a:r>
              <a:rPr lang="de-DE" noProof="0"/>
              <a:t>Alternativ kopieren Sie ein Bild in die Zwischenablage, </a:t>
            </a:r>
            <a:br>
              <a:rPr lang="de-DE" noProof="0"/>
            </a:br>
            <a:r>
              <a:rPr lang="de-DE" noProof="0"/>
              <a:t>wählen Sie den Platzhalter an und klicken Sie einfügen. </a:t>
            </a:r>
          </a:p>
        </p:txBody>
      </p:sp>
      <p:sp>
        <p:nvSpPr>
          <p:cNvPr id="10" name="Textplatzhalter 14">
            <a:extLst>
              <a:ext uri="{FF2B5EF4-FFF2-40B4-BE49-F238E27FC236}">
                <a16:creationId xmlns:a16="http://schemas.microsoft.com/office/drawing/2014/main" id="{9094ED5F-72E2-4E12-8A00-EC304260D70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>
          <a:xfrm>
            <a:off x="336550" y="1411288"/>
            <a:ext cx="5688013" cy="5041901"/>
          </a:xfrm>
        </p:spPr>
        <p:txBody>
          <a:bodyPr rIns="144000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3532047493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3 x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F211E17-AEA1-4E11-9AC2-3A2199F9115D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noProof="0"/>
              <a:t>Click to edit Master title style</a:t>
            </a:r>
            <a:endParaRPr lang="de-DE" noProof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0358B7C0-0247-405F-8559-68AEBF15D2A5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B600E49A-8649-4AAC-A85A-83741020B512}" type="datetime1">
              <a:rPr lang="de-DE" noProof="0" smtClean="0"/>
              <a:t>22.10.2023</a:t>
            </a:fld>
            <a:endParaRPr lang="de-DE" sz="800" noProof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66AEAC1-3766-423F-81D5-D7FAEFFA55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pPr algn="ctr"/>
            <a:r>
              <a:rPr lang="de-DE" noProof="0"/>
              <a:t>Commerzbank AG, Max Mustermann, GM-C Brand Management 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1E4EAF3-3870-400C-8EC4-AC9F3893DE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CAEFDB47-5D1C-45E7-8BD0-EF74349B00F7}" type="slidenum">
              <a:rPr lang="de-DE" noProof="0" smtClean="0"/>
              <a:pPr/>
              <a:t>‹#›</a:t>
            </a:fld>
            <a:endParaRPr lang="de-DE" b="0" noProof="0"/>
          </a:p>
        </p:txBody>
      </p:sp>
      <p:sp>
        <p:nvSpPr>
          <p:cNvPr id="8" name="Bildplatzhalter 8">
            <a:extLst>
              <a:ext uri="{FF2B5EF4-FFF2-40B4-BE49-F238E27FC236}">
                <a16:creationId xmlns:a16="http://schemas.microsoft.com/office/drawing/2014/main" id="{C1CE1843-50B6-43F2-940C-3D088A7ED44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3251201" y="1411287"/>
            <a:ext cx="2771774" cy="5041899"/>
          </a:xfrm>
          <a:noFill/>
        </p:spPr>
        <p:txBody>
          <a:bodyPr lIns="0" tIns="0" rIns="0" bIns="576000" anchor="b"/>
          <a:lstStyle>
            <a:lvl1pPr marL="0" indent="0" algn="ctr">
              <a:buNone/>
              <a:defRPr sz="800">
                <a:solidFill>
                  <a:schemeClr val="accent4"/>
                </a:solidFill>
              </a:defRPr>
            </a:lvl1pPr>
          </a:lstStyle>
          <a:p>
            <a:r>
              <a:rPr lang="de-DE" noProof="0"/>
              <a:t>Fügen Sie ein Bild über Klicken auf das Symbol ein. </a:t>
            </a:r>
            <a:br>
              <a:rPr lang="de-DE" noProof="0"/>
            </a:br>
            <a:br>
              <a:rPr lang="de-DE" noProof="0"/>
            </a:br>
            <a:r>
              <a:rPr lang="de-DE" noProof="0"/>
              <a:t>Alternativ kopieren Sie ein Bild in die Zwischenablage, </a:t>
            </a:r>
            <a:br>
              <a:rPr lang="de-DE" noProof="0"/>
            </a:br>
            <a:r>
              <a:rPr lang="de-DE" noProof="0"/>
              <a:t>wählen Sie den Platzhalter an und klicken Sie einfügen. </a:t>
            </a:r>
          </a:p>
        </p:txBody>
      </p:sp>
      <p:sp>
        <p:nvSpPr>
          <p:cNvPr id="9" name="Bildplatzhalter 8">
            <a:extLst>
              <a:ext uri="{FF2B5EF4-FFF2-40B4-BE49-F238E27FC236}">
                <a16:creationId xmlns:a16="http://schemas.microsoft.com/office/drawing/2014/main" id="{7FE7000F-F103-49B3-A2C9-FE901A2D341F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6167438" y="1411287"/>
            <a:ext cx="2771774" cy="5041899"/>
          </a:xfrm>
          <a:noFill/>
        </p:spPr>
        <p:txBody>
          <a:bodyPr lIns="0" tIns="0" rIns="0" bIns="576000" anchor="b"/>
          <a:lstStyle>
            <a:lvl1pPr marL="0" indent="0" algn="ctr">
              <a:buNone/>
              <a:defRPr sz="800">
                <a:solidFill>
                  <a:schemeClr val="accent4"/>
                </a:solidFill>
              </a:defRPr>
            </a:lvl1pPr>
          </a:lstStyle>
          <a:p>
            <a:r>
              <a:rPr lang="de-DE" noProof="0"/>
              <a:t>Fügen Sie ein Bild über Klicken auf das Symbol ein. </a:t>
            </a:r>
            <a:br>
              <a:rPr lang="de-DE" noProof="0"/>
            </a:br>
            <a:br>
              <a:rPr lang="de-DE" noProof="0"/>
            </a:br>
            <a:r>
              <a:rPr lang="de-DE" noProof="0"/>
              <a:t>Alternativ kopieren Sie ein Bild in die Zwischenablage, </a:t>
            </a:r>
            <a:br>
              <a:rPr lang="de-DE" noProof="0"/>
            </a:br>
            <a:r>
              <a:rPr lang="de-DE" noProof="0"/>
              <a:t>wählen Sie den Platzhalter an und klicken Sie einfügen. </a:t>
            </a:r>
          </a:p>
        </p:txBody>
      </p:sp>
      <p:sp>
        <p:nvSpPr>
          <p:cNvPr id="14" name="Bildplatzhalter 8">
            <a:extLst>
              <a:ext uri="{FF2B5EF4-FFF2-40B4-BE49-F238E27FC236}">
                <a16:creationId xmlns:a16="http://schemas.microsoft.com/office/drawing/2014/main" id="{6018F24F-3A27-42DA-B136-26A310967591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 bwMode="gray">
          <a:xfrm>
            <a:off x="9083675" y="1411287"/>
            <a:ext cx="2771774" cy="5041899"/>
          </a:xfrm>
          <a:noFill/>
        </p:spPr>
        <p:txBody>
          <a:bodyPr lIns="0" tIns="0" rIns="0" bIns="576000" anchor="b"/>
          <a:lstStyle>
            <a:lvl1pPr marL="0" indent="0" algn="ctr">
              <a:buNone/>
              <a:defRPr sz="800">
                <a:solidFill>
                  <a:schemeClr val="accent4"/>
                </a:solidFill>
              </a:defRPr>
            </a:lvl1pPr>
          </a:lstStyle>
          <a:p>
            <a:r>
              <a:rPr lang="de-DE" noProof="0"/>
              <a:t>Fügen Sie ein Bild über Klicken auf das Symbol ein. </a:t>
            </a:r>
            <a:br>
              <a:rPr lang="de-DE" noProof="0"/>
            </a:br>
            <a:br>
              <a:rPr lang="de-DE" noProof="0"/>
            </a:br>
            <a:r>
              <a:rPr lang="de-DE" noProof="0"/>
              <a:t>Alternativ kopieren Sie ein Bild in die Zwischenablage, </a:t>
            </a:r>
            <a:br>
              <a:rPr lang="de-DE" noProof="0"/>
            </a:br>
            <a:r>
              <a:rPr lang="de-DE" noProof="0"/>
              <a:t>wählen Sie den Platzhalter an und klicken Sie einfügen. </a:t>
            </a:r>
          </a:p>
        </p:txBody>
      </p:sp>
      <p:sp>
        <p:nvSpPr>
          <p:cNvPr id="10" name="Textplatzhalter 14">
            <a:extLst>
              <a:ext uri="{FF2B5EF4-FFF2-40B4-BE49-F238E27FC236}">
                <a16:creationId xmlns:a16="http://schemas.microsoft.com/office/drawing/2014/main" id="{7CE806B6-1279-4030-A8DE-41213B965FF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>
          <a:xfrm>
            <a:off x="336550" y="1411288"/>
            <a:ext cx="2770188" cy="5041901"/>
          </a:xfrm>
        </p:spPr>
        <p:txBody>
          <a:bodyPr rIns="144000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3621214692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F211E17-AEA1-4E11-9AC2-3A2199F9115D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noProof="0"/>
              <a:t>Click to edit Master title style</a:t>
            </a:r>
            <a:endParaRPr lang="de-DE" noProof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0358B7C0-0247-405F-8559-68AEBF15D2A5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B600E49A-8649-4AAC-A85A-83741020B512}" type="datetime1">
              <a:rPr lang="de-DE" noProof="0" smtClean="0"/>
              <a:t>22.10.2023</a:t>
            </a:fld>
            <a:endParaRPr lang="de-DE" sz="800" noProof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66AEAC1-3766-423F-81D5-D7FAEFFA55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pPr algn="ctr"/>
            <a:r>
              <a:rPr lang="de-DE" noProof="0"/>
              <a:t>Commerzbank AG, Max Mustermann, GM-C Brand Management 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1E4EAF3-3870-400C-8EC4-AC9F3893DE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CAEFDB47-5D1C-45E7-8BD0-EF74349B00F7}" type="slidenum">
              <a:rPr lang="de-DE" noProof="0" smtClean="0"/>
              <a:pPr/>
              <a:t>‹#›</a:t>
            </a:fld>
            <a:endParaRPr lang="de-DE" b="0" noProof="0"/>
          </a:p>
        </p:txBody>
      </p:sp>
      <p:sp>
        <p:nvSpPr>
          <p:cNvPr id="8" name="Bildplatzhalter 8">
            <a:extLst>
              <a:ext uri="{FF2B5EF4-FFF2-40B4-BE49-F238E27FC236}">
                <a16:creationId xmlns:a16="http://schemas.microsoft.com/office/drawing/2014/main" id="{C1CE1843-50B6-43F2-940C-3D088A7ED44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336550" y="1411288"/>
            <a:ext cx="11518899" cy="5041900"/>
          </a:xfrm>
          <a:noFill/>
        </p:spPr>
        <p:txBody>
          <a:bodyPr lIns="0" tIns="0" rIns="0" bIns="576000" anchor="b"/>
          <a:lstStyle>
            <a:lvl1pPr marL="0" indent="0" algn="ctr">
              <a:buNone/>
              <a:defRPr sz="800">
                <a:solidFill>
                  <a:schemeClr val="accent4"/>
                </a:solidFill>
              </a:defRPr>
            </a:lvl1pPr>
          </a:lstStyle>
          <a:p>
            <a:r>
              <a:rPr lang="de-DE" noProof="0"/>
              <a:t>Fügen Sie ein Bild über Klicken auf das Symbol ein. </a:t>
            </a:r>
            <a:br>
              <a:rPr lang="de-DE" noProof="0"/>
            </a:br>
            <a:br>
              <a:rPr lang="de-DE" noProof="0"/>
            </a:br>
            <a:r>
              <a:rPr lang="de-DE" noProof="0"/>
              <a:t>Alternativ kopieren Sie ein Bild in die Zwischenablage, </a:t>
            </a:r>
            <a:br>
              <a:rPr lang="de-DE" noProof="0"/>
            </a:br>
            <a:r>
              <a:rPr lang="de-DE" noProof="0"/>
              <a:t>wählen Sie den Platzhalter an und klicken Sie einfügen. </a:t>
            </a:r>
          </a:p>
        </p:txBody>
      </p:sp>
    </p:spTree>
    <p:extLst>
      <p:ext uri="{BB962C8B-B14F-4D97-AF65-F5344CB8AC3E}">
        <p14:creationId xmlns:p14="http://schemas.microsoft.com/office/powerpoint/2010/main" val="441242978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x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F211E17-AEA1-4E11-9AC2-3A2199F9115D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noProof="0"/>
              <a:t>Click to edit Master title style</a:t>
            </a:r>
            <a:endParaRPr lang="de-DE" noProof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0358B7C0-0247-405F-8559-68AEBF15D2A5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B600E49A-8649-4AAC-A85A-83741020B512}" type="datetime1">
              <a:rPr lang="de-DE" noProof="0" smtClean="0"/>
              <a:t>22.10.2023</a:t>
            </a:fld>
            <a:endParaRPr lang="de-DE" sz="800" noProof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66AEAC1-3766-423F-81D5-D7FAEFFA55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pPr algn="ctr"/>
            <a:r>
              <a:rPr lang="de-DE" noProof="0"/>
              <a:t>Commerzbank AG, Max Mustermann, GM-C Brand Management 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1E4EAF3-3870-400C-8EC4-AC9F3893DE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CAEFDB47-5D1C-45E7-8BD0-EF74349B00F7}" type="slidenum">
              <a:rPr lang="de-DE" noProof="0" smtClean="0"/>
              <a:pPr/>
              <a:t>‹#›</a:t>
            </a:fld>
            <a:endParaRPr lang="de-DE" b="0" noProof="0"/>
          </a:p>
        </p:txBody>
      </p:sp>
      <p:sp>
        <p:nvSpPr>
          <p:cNvPr id="8" name="Bildplatzhalter 8">
            <a:extLst>
              <a:ext uri="{FF2B5EF4-FFF2-40B4-BE49-F238E27FC236}">
                <a16:creationId xmlns:a16="http://schemas.microsoft.com/office/drawing/2014/main" id="{C1CE1843-50B6-43F2-940C-3D088A7ED44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336550" y="1411288"/>
            <a:ext cx="5688011" cy="5041900"/>
          </a:xfrm>
          <a:noFill/>
        </p:spPr>
        <p:txBody>
          <a:bodyPr lIns="0" tIns="0" rIns="0" bIns="576000" anchor="b"/>
          <a:lstStyle>
            <a:lvl1pPr marL="0" indent="0" algn="ctr">
              <a:buNone/>
              <a:defRPr sz="800">
                <a:solidFill>
                  <a:schemeClr val="accent4"/>
                </a:solidFill>
              </a:defRPr>
            </a:lvl1pPr>
          </a:lstStyle>
          <a:p>
            <a:r>
              <a:rPr lang="de-DE" noProof="0"/>
              <a:t>Fügen Sie ein Bild über Klicken auf das Symbol ein. </a:t>
            </a:r>
            <a:br>
              <a:rPr lang="de-DE" noProof="0"/>
            </a:br>
            <a:br>
              <a:rPr lang="de-DE" noProof="0"/>
            </a:br>
            <a:r>
              <a:rPr lang="de-DE" noProof="0"/>
              <a:t>Alternativ kopieren Sie ein Bild in die Zwischenablage, </a:t>
            </a:r>
            <a:br>
              <a:rPr lang="de-DE" noProof="0"/>
            </a:br>
            <a:r>
              <a:rPr lang="de-DE" noProof="0"/>
              <a:t>wählen Sie den Platzhalter an und klicken Sie einfügen. </a:t>
            </a:r>
          </a:p>
        </p:txBody>
      </p:sp>
      <p:sp>
        <p:nvSpPr>
          <p:cNvPr id="7" name="Bildplatzhalter 8">
            <a:extLst>
              <a:ext uri="{FF2B5EF4-FFF2-40B4-BE49-F238E27FC236}">
                <a16:creationId xmlns:a16="http://schemas.microsoft.com/office/drawing/2014/main" id="{B1A47615-1FA6-4D87-AF71-A2E9F981AA6B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6167437" y="1411288"/>
            <a:ext cx="5688011" cy="5041900"/>
          </a:xfrm>
          <a:noFill/>
        </p:spPr>
        <p:txBody>
          <a:bodyPr lIns="0" tIns="0" rIns="0" bIns="576000" anchor="b"/>
          <a:lstStyle>
            <a:lvl1pPr marL="0" indent="0" algn="ctr">
              <a:buNone/>
              <a:defRPr sz="800">
                <a:solidFill>
                  <a:schemeClr val="accent4"/>
                </a:solidFill>
              </a:defRPr>
            </a:lvl1pPr>
          </a:lstStyle>
          <a:p>
            <a:r>
              <a:rPr lang="de-DE" noProof="0"/>
              <a:t>Fügen Sie ein Bild über Klicken auf das Symbol ein. </a:t>
            </a:r>
            <a:br>
              <a:rPr lang="de-DE" noProof="0"/>
            </a:br>
            <a:br>
              <a:rPr lang="de-DE" noProof="0"/>
            </a:br>
            <a:r>
              <a:rPr lang="de-DE" noProof="0"/>
              <a:t>Alternativ kopieren Sie ein Bild in die Zwischenablage, </a:t>
            </a:r>
            <a:br>
              <a:rPr lang="de-DE" noProof="0"/>
            </a:br>
            <a:r>
              <a:rPr lang="de-DE" noProof="0"/>
              <a:t>wählen Sie den Platzhalter an und klicken Sie einfügen. </a:t>
            </a:r>
          </a:p>
        </p:txBody>
      </p:sp>
    </p:spTree>
    <p:extLst>
      <p:ext uri="{BB962C8B-B14F-4D97-AF65-F5344CB8AC3E}">
        <p14:creationId xmlns:p14="http://schemas.microsoft.com/office/powerpoint/2010/main" val="274647868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x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F211E17-AEA1-4E11-9AC2-3A2199F9115D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noProof="0"/>
              <a:t>Click to edit Master title style</a:t>
            </a:r>
            <a:endParaRPr lang="de-DE" noProof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0358B7C0-0247-405F-8559-68AEBF15D2A5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B600E49A-8649-4AAC-A85A-83741020B512}" type="datetime1">
              <a:rPr lang="de-DE" noProof="0" smtClean="0"/>
              <a:t>22.10.2023</a:t>
            </a:fld>
            <a:endParaRPr lang="de-DE" sz="800" noProof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66AEAC1-3766-423F-81D5-D7FAEFFA55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pPr algn="ctr"/>
            <a:r>
              <a:rPr lang="de-DE" noProof="0"/>
              <a:t>Commerzbank AG, Max Mustermann, GM-C Brand Management 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1E4EAF3-3870-400C-8EC4-AC9F3893DE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CAEFDB47-5D1C-45E7-8BD0-EF74349B00F7}" type="slidenum">
              <a:rPr lang="de-DE" noProof="0" smtClean="0"/>
              <a:pPr/>
              <a:t>‹#›</a:t>
            </a:fld>
            <a:endParaRPr lang="de-DE" b="0" noProof="0"/>
          </a:p>
        </p:txBody>
      </p:sp>
      <p:sp>
        <p:nvSpPr>
          <p:cNvPr id="8" name="Bildplatzhalter 8">
            <a:extLst>
              <a:ext uri="{FF2B5EF4-FFF2-40B4-BE49-F238E27FC236}">
                <a16:creationId xmlns:a16="http://schemas.microsoft.com/office/drawing/2014/main" id="{C1CE1843-50B6-43F2-940C-3D088A7ED44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336551" y="1411288"/>
            <a:ext cx="3743324" cy="5041900"/>
          </a:xfrm>
          <a:noFill/>
        </p:spPr>
        <p:txBody>
          <a:bodyPr lIns="0" tIns="0" rIns="0" bIns="576000" anchor="b"/>
          <a:lstStyle>
            <a:lvl1pPr marL="0" indent="0" algn="ctr">
              <a:buNone/>
              <a:defRPr sz="800">
                <a:solidFill>
                  <a:schemeClr val="accent4"/>
                </a:solidFill>
              </a:defRPr>
            </a:lvl1pPr>
          </a:lstStyle>
          <a:p>
            <a:r>
              <a:rPr lang="de-DE" noProof="0"/>
              <a:t>Fügen Sie ein Bild über Klicken auf das Symbol ein. </a:t>
            </a:r>
            <a:br>
              <a:rPr lang="de-DE" noProof="0"/>
            </a:br>
            <a:br>
              <a:rPr lang="de-DE" noProof="0"/>
            </a:br>
            <a:r>
              <a:rPr lang="de-DE" noProof="0"/>
              <a:t>Alternativ kopieren Sie ein Bild in die Zwischenablage, </a:t>
            </a:r>
            <a:br>
              <a:rPr lang="de-DE" noProof="0"/>
            </a:br>
            <a:r>
              <a:rPr lang="de-DE" noProof="0"/>
              <a:t>wählen Sie den Platzhalter an und klicken Sie einfügen. </a:t>
            </a:r>
          </a:p>
        </p:txBody>
      </p:sp>
      <p:sp>
        <p:nvSpPr>
          <p:cNvPr id="7" name="Bildplatzhalter 8">
            <a:extLst>
              <a:ext uri="{FF2B5EF4-FFF2-40B4-BE49-F238E27FC236}">
                <a16:creationId xmlns:a16="http://schemas.microsoft.com/office/drawing/2014/main" id="{B1A47615-1FA6-4D87-AF71-A2E9F981AA6B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4224338" y="1411288"/>
            <a:ext cx="3743324" cy="5041900"/>
          </a:xfrm>
          <a:noFill/>
        </p:spPr>
        <p:txBody>
          <a:bodyPr lIns="0" tIns="0" rIns="0" bIns="576000" anchor="b"/>
          <a:lstStyle>
            <a:lvl1pPr marL="0" indent="0" algn="ctr">
              <a:buNone/>
              <a:defRPr sz="800">
                <a:solidFill>
                  <a:schemeClr val="accent4"/>
                </a:solidFill>
              </a:defRPr>
            </a:lvl1pPr>
          </a:lstStyle>
          <a:p>
            <a:r>
              <a:rPr lang="de-DE" noProof="0"/>
              <a:t>Fügen Sie ein Bild über Klicken auf das Symbol ein. </a:t>
            </a:r>
            <a:br>
              <a:rPr lang="de-DE" noProof="0"/>
            </a:br>
            <a:br>
              <a:rPr lang="de-DE" noProof="0"/>
            </a:br>
            <a:r>
              <a:rPr lang="de-DE" noProof="0"/>
              <a:t>Alternativ kopieren Sie ein Bild in die Zwischenablage, </a:t>
            </a:r>
            <a:br>
              <a:rPr lang="de-DE" noProof="0"/>
            </a:br>
            <a:r>
              <a:rPr lang="de-DE" noProof="0"/>
              <a:t>wählen Sie den Platzhalter an und klicken Sie einfügen. </a:t>
            </a:r>
          </a:p>
        </p:txBody>
      </p:sp>
      <p:sp>
        <p:nvSpPr>
          <p:cNvPr id="9" name="Bildplatzhalter 8">
            <a:extLst>
              <a:ext uri="{FF2B5EF4-FFF2-40B4-BE49-F238E27FC236}">
                <a16:creationId xmlns:a16="http://schemas.microsoft.com/office/drawing/2014/main" id="{03EAD474-945A-49D3-BA33-F439607C587D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8112126" y="1411288"/>
            <a:ext cx="3743324" cy="5041900"/>
          </a:xfrm>
          <a:noFill/>
        </p:spPr>
        <p:txBody>
          <a:bodyPr lIns="0" tIns="0" rIns="0" bIns="576000" anchor="b"/>
          <a:lstStyle>
            <a:lvl1pPr marL="0" indent="0" algn="ctr">
              <a:buNone/>
              <a:defRPr sz="800">
                <a:solidFill>
                  <a:schemeClr val="accent4"/>
                </a:solidFill>
              </a:defRPr>
            </a:lvl1pPr>
          </a:lstStyle>
          <a:p>
            <a:r>
              <a:rPr lang="de-DE" noProof="0"/>
              <a:t>Fügen Sie ein Bild über Klicken auf das Symbol ein. </a:t>
            </a:r>
            <a:br>
              <a:rPr lang="de-DE" noProof="0"/>
            </a:br>
            <a:br>
              <a:rPr lang="de-DE" noProof="0"/>
            </a:br>
            <a:r>
              <a:rPr lang="de-DE" noProof="0"/>
              <a:t>Alternativ kopieren Sie ein Bild in die Zwischenablage, </a:t>
            </a:r>
            <a:br>
              <a:rPr lang="de-DE" noProof="0"/>
            </a:br>
            <a:r>
              <a:rPr lang="de-DE" noProof="0"/>
              <a:t>wählen Sie den Platzhalter an und klicken Sie einfügen. </a:t>
            </a:r>
          </a:p>
        </p:txBody>
      </p:sp>
    </p:spTree>
    <p:extLst>
      <p:ext uri="{BB962C8B-B14F-4D97-AF65-F5344CB8AC3E}">
        <p14:creationId xmlns:p14="http://schemas.microsoft.com/office/powerpoint/2010/main" val="871107565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x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F211E17-AEA1-4E11-9AC2-3A2199F9115D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noProof="0"/>
              <a:t>Click to edit Master title style</a:t>
            </a:r>
            <a:endParaRPr lang="de-DE" noProof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0358B7C0-0247-405F-8559-68AEBF15D2A5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B600E49A-8649-4AAC-A85A-83741020B512}" type="datetime1">
              <a:rPr lang="de-DE" noProof="0" smtClean="0"/>
              <a:t>22.10.2023</a:t>
            </a:fld>
            <a:endParaRPr lang="de-DE" sz="800" noProof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66AEAC1-3766-423F-81D5-D7FAEFFA55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pPr algn="ctr"/>
            <a:r>
              <a:rPr lang="de-DE" noProof="0"/>
              <a:t>Commerzbank AG, Max Mustermann, GM-C Brand Management 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1E4EAF3-3870-400C-8EC4-AC9F3893DE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CAEFDB47-5D1C-45E7-8BD0-EF74349B00F7}" type="slidenum">
              <a:rPr lang="de-DE" noProof="0" smtClean="0"/>
              <a:pPr/>
              <a:t>‹#›</a:t>
            </a:fld>
            <a:endParaRPr lang="de-DE" b="0" noProof="0"/>
          </a:p>
        </p:txBody>
      </p:sp>
      <p:sp>
        <p:nvSpPr>
          <p:cNvPr id="8" name="Bildplatzhalter 8">
            <a:extLst>
              <a:ext uri="{FF2B5EF4-FFF2-40B4-BE49-F238E27FC236}">
                <a16:creationId xmlns:a16="http://schemas.microsoft.com/office/drawing/2014/main" id="{C1CE1843-50B6-43F2-940C-3D088A7ED44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336550" y="1411288"/>
            <a:ext cx="2773155" cy="5041900"/>
          </a:xfrm>
          <a:noFill/>
        </p:spPr>
        <p:txBody>
          <a:bodyPr lIns="0" tIns="0" rIns="0" bIns="576000" anchor="b"/>
          <a:lstStyle>
            <a:lvl1pPr marL="0" indent="0" algn="ctr">
              <a:buNone/>
              <a:defRPr sz="800">
                <a:solidFill>
                  <a:schemeClr val="accent4"/>
                </a:solidFill>
              </a:defRPr>
            </a:lvl1pPr>
          </a:lstStyle>
          <a:p>
            <a:r>
              <a:rPr lang="de-DE" noProof="0"/>
              <a:t>Fügen Sie ein Bild über Klicken auf das Symbol ein. </a:t>
            </a:r>
            <a:br>
              <a:rPr lang="de-DE" noProof="0"/>
            </a:br>
            <a:br>
              <a:rPr lang="de-DE" noProof="0"/>
            </a:br>
            <a:r>
              <a:rPr lang="de-DE" noProof="0"/>
              <a:t>Alternativ kopieren Sie ein Bild in die Zwischenablage, </a:t>
            </a:r>
            <a:br>
              <a:rPr lang="de-DE" noProof="0"/>
            </a:br>
            <a:r>
              <a:rPr lang="de-DE" noProof="0"/>
              <a:t>wählen Sie den Platzhalter an und klicken Sie einfügen. </a:t>
            </a:r>
          </a:p>
        </p:txBody>
      </p:sp>
      <p:sp>
        <p:nvSpPr>
          <p:cNvPr id="7" name="Bildplatzhalter 8">
            <a:extLst>
              <a:ext uri="{FF2B5EF4-FFF2-40B4-BE49-F238E27FC236}">
                <a16:creationId xmlns:a16="http://schemas.microsoft.com/office/drawing/2014/main" id="{B1A47615-1FA6-4D87-AF71-A2E9F981AA6B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3251407" y="1411288"/>
            <a:ext cx="2773155" cy="5041900"/>
          </a:xfrm>
          <a:noFill/>
        </p:spPr>
        <p:txBody>
          <a:bodyPr lIns="0" tIns="0" rIns="0" bIns="576000" anchor="b"/>
          <a:lstStyle>
            <a:lvl1pPr marL="0" indent="0" algn="ctr">
              <a:buNone/>
              <a:defRPr sz="800">
                <a:solidFill>
                  <a:schemeClr val="accent4"/>
                </a:solidFill>
              </a:defRPr>
            </a:lvl1pPr>
          </a:lstStyle>
          <a:p>
            <a:r>
              <a:rPr lang="de-DE" noProof="0"/>
              <a:t>Fügen Sie ein Bild über Klicken auf das Symbol ein. </a:t>
            </a:r>
            <a:br>
              <a:rPr lang="de-DE" noProof="0"/>
            </a:br>
            <a:br>
              <a:rPr lang="de-DE" noProof="0"/>
            </a:br>
            <a:r>
              <a:rPr lang="de-DE" noProof="0"/>
              <a:t>Alternativ kopieren Sie ein Bild in die Zwischenablage, </a:t>
            </a:r>
            <a:br>
              <a:rPr lang="de-DE" noProof="0"/>
            </a:br>
            <a:r>
              <a:rPr lang="de-DE" noProof="0"/>
              <a:t>wählen Sie den Platzhalter an und klicken Sie einfügen. </a:t>
            </a:r>
          </a:p>
        </p:txBody>
      </p:sp>
      <p:sp>
        <p:nvSpPr>
          <p:cNvPr id="9" name="Bildplatzhalter 8">
            <a:extLst>
              <a:ext uri="{FF2B5EF4-FFF2-40B4-BE49-F238E27FC236}">
                <a16:creationId xmlns:a16="http://schemas.microsoft.com/office/drawing/2014/main" id="{03EAD474-945A-49D3-BA33-F439607C587D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6167437" y="1411288"/>
            <a:ext cx="2773155" cy="5041900"/>
          </a:xfrm>
          <a:noFill/>
        </p:spPr>
        <p:txBody>
          <a:bodyPr lIns="0" tIns="0" rIns="0" bIns="576000" anchor="b"/>
          <a:lstStyle>
            <a:lvl1pPr marL="0" indent="0" algn="ctr">
              <a:buNone/>
              <a:defRPr sz="800">
                <a:solidFill>
                  <a:schemeClr val="accent4"/>
                </a:solidFill>
              </a:defRPr>
            </a:lvl1pPr>
          </a:lstStyle>
          <a:p>
            <a:r>
              <a:rPr lang="de-DE" noProof="0"/>
              <a:t>Fügen Sie ein Bild über Klicken auf das Symbol ein. </a:t>
            </a:r>
            <a:br>
              <a:rPr lang="de-DE" noProof="0"/>
            </a:br>
            <a:br>
              <a:rPr lang="de-DE" noProof="0"/>
            </a:br>
            <a:r>
              <a:rPr lang="de-DE" noProof="0"/>
              <a:t>Alternativ kopieren Sie ein Bild in die Zwischenablage, </a:t>
            </a:r>
            <a:br>
              <a:rPr lang="de-DE" noProof="0"/>
            </a:br>
            <a:r>
              <a:rPr lang="de-DE" noProof="0"/>
              <a:t>wählen Sie den Platzhalter an und klicken Sie einfügen. </a:t>
            </a:r>
          </a:p>
        </p:txBody>
      </p:sp>
      <p:sp>
        <p:nvSpPr>
          <p:cNvPr id="14" name="Bildplatzhalter 8">
            <a:extLst>
              <a:ext uri="{FF2B5EF4-FFF2-40B4-BE49-F238E27FC236}">
                <a16:creationId xmlns:a16="http://schemas.microsoft.com/office/drawing/2014/main" id="{20157F93-CAFF-4A26-B7A5-93B3E4E943BE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9082568" y="1411288"/>
            <a:ext cx="2773155" cy="5041900"/>
          </a:xfrm>
          <a:noFill/>
        </p:spPr>
        <p:txBody>
          <a:bodyPr lIns="0" tIns="0" rIns="0" bIns="576000" anchor="b"/>
          <a:lstStyle>
            <a:lvl1pPr marL="0" indent="0" algn="ctr">
              <a:buNone/>
              <a:defRPr sz="800">
                <a:solidFill>
                  <a:schemeClr val="accent4"/>
                </a:solidFill>
              </a:defRPr>
            </a:lvl1pPr>
          </a:lstStyle>
          <a:p>
            <a:r>
              <a:rPr lang="de-DE" noProof="0"/>
              <a:t>Fügen Sie ein Bild über Klicken auf das Symbol ein. </a:t>
            </a:r>
            <a:br>
              <a:rPr lang="de-DE" noProof="0"/>
            </a:br>
            <a:br>
              <a:rPr lang="de-DE" noProof="0"/>
            </a:br>
            <a:r>
              <a:rPr lang="de-DE" noProof="0"/>
              <a:t>Alternativ kopieren Sie ein Bild in die Zwischenablage, </a:t>
            </a:r>
            <a:br>
              <a:rPr lang="de-DE" noProof="0"/>
            </a:br>
            <a:r>
              <a:rPr lang="de-DE" noProof="0"/>
              <a:t>wählen Sie den Platzhalter an und klicken Sie einfügen. </a:t>
            </a:r>
          </a:p>
        </p:txBody>
      </p:sp>
    </p:spTree>
    <p:extLst>
      <p:ext uri="{BB962C8B-B14F-4D97-AF65-F5344CB8AC3E}">
        <p14:creationId xmlns:p14="http://schemas.microsoft.com/office/powerpoint/2010/main" val="964896649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x Picture Coll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F211E17-AEA1-4E11-9AC2-3A2199F9115D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noProof="0"/>
              <a:t>Click to edit Master title style</a:t>
            </a:r>
            <a:endParaRPr lang="de-DE" noProof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0358B7C0-0247-405F-8559-68AEBF15D2A5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B600E49A-8649-4AAC-A85A-83741020B512}" type="datetime1">
              <a:rPr lang="de-DE" noProof="0" smtClean="0"/>
              <a:t>22.10.2023</a:t>
            </a:fld>
            <a:endParaRPr lang="de-DE" sz="800" noProof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66AEAC1-3766-423F-81D5-D7FAEFFA55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pPr algn="ctr"/>
            <a:r>
              <a:rPr lang="de-DE" noProof="0"/>
              <a:t>Commerzbank AG, Max Mustermann, GM-C Brand Management 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1E4EAF3-3870-400C-8EC4-AC9F3893DE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CAEFDB47-5D1C-45E7-8BD0-EF74349B00F7}" type="slidenum">
              <a:rPr lang="de-DE" noProof="0" smtClean="0"/>
              <a:pPr/>
              <a:t>‹#›</a:t>
            </a:fld>
            <a:endParaRPr lang="de-DE" b="0" noProof="0"/>
          </a:p>
        </p:txBody>
      </p:sp>
      <p:sp>
        <p:nvSpPr>
          <p:cNvPr id="18" name="Bildplatzhalter 8">
            <a:extLst>
              <a:ext uri="{FF2B5EF4-FFF2-40B4-BE49-F238E27FC236}">
                <a16:creationId xmlns:a16="http://schemas.microsoft.com/office/drawing/2014/main" id="{9A623B57-1102-44D9-B1B6-4E17A68D9324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336551" y="1411288"/>
            <a:ext cx="3743324" cy="2449512"/>
          </a:xfrm>
          <a:noFill/>
        </p:spPr>
        <p:txBody>
          <a:bodyPr lIns="0" tIns="0" rIns="0" bIns="576000" anchor="b"/>
          <a:lstStyle>
            <a:lvl1pPr marL="0" indent="0" algn="ctr">
              <a:buNone/>
              <a:defRPr sz="800">
                <a:solidFill>
                  <a:schemeClr val="accent4"/>
                </a:solidFill>
              </a:defRPr>
            </a:lvl1pPr>
          </a:lstStyle>
          <a:p>
            <a:r>
              <a:rPr lang="de-DE" noProof="0"/>
              <a:t>Fügen Sie ein Bild über Klicken auf das Symbol ein. </a:t>
            </a:r>
            <a:br>
              <a:rPr lang="de-DE" noProof="0"/>
            </a:br>
            <a:br>
              <a:rPr lang="de-DE" noProof="0"/>
            </a:br>
            <a:r>
              <a:rPr lang="de-DE" noProof="0"/>
              <a:t>Alternativ kopieren Sie ein Bild in die Zwischenablage, </a:t>
            </a:r>
            <a:br>
              <a:rPr lang="de-DE" noProof="0"/>
            </a:br>
            <a:r>
              <a:rPr lang="de-DE" noProof="0"/>
              <a:t>wählen Sie den Platzhalter an und klicken Sie einfügen. </a:t>
            </a:r>
          </a:p>
        </p:txBody>
      </p:sp>
      <p:sp>
        <p:nvSpPr>
          <p:cNvPr id="19" name="Bildplatzhalter 8">
            <a:extLst>
              <a:ext uri="{FF2B5EF4-FFF2-40B4-BE49-F238E27FC236}">
                <a16:creationId xmlns:a16="http://schemas.microsoft.com/office/drawing/2014/main" id="{A82A0161-3FE9-4403-AE5C-565B29333E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4224338" y="1411288"/>
            <a:ext cx="3743324" cy="5041900"/>
          </a:xfrm>
          <a:noFill/>
        </p:spPr>
        <p:txBody>
          <a:bodyPr lIns="0" tIns="0" rIns="0" bIns="576000" anchor="b"/>
          <a:lstStyle>
            <a:lvl1pPr marL="0" indent="0" algn="ctr">
              <a:buNone/>
              <a:defRPr sz="800">
                <a:solidFill>
                  <a:schemeClr val="accent4"/>
                </a:solidFill>
              </a:defRPr>
            </a:lvl1pPr>
          </a:lstStyle>
          <a:p>
            <a:r>
              <a:rPr lang="de-DE" noProof="0"/>
              <a:t>Fügen Sie ein Bild über Klicken auf das Symbol ein. </a:t>
            </a:r>
            <a:br>
              <a:rPr lang="de-DE" noProof="0"/>
            </a:br>
            <a:br>
              <a:rPr lang="de-DE" noProof="0"/>
            </a:br>
            <a:r>
              <a:rPr lang="de-DE" noProof="0"/>
              <a:t>Alternativ kopieren Sie ein Bild in die Zwischenablage, </a:t>
            </a:r>
            <a:br>
              <a:rPr lang="de-DE" noProof="0"/>
            </a:br>
            <a:r>
              <a:rPr lang="de-DE" noProof="0"/>
              <a:t>wählen Sie den Platzhalter an und klicken Sie einfügen. </a:t>
            </a:r>
          </a:p>
        </p:txBody>
      </p:sp>
      <p:sp>
        <p:nvSpPr>
          <p:cNvPr id="20" name="Bildplatzhalter 8">
            <a:extLst>
              <a:ext uri="{FF2B5EF4-FFF2-40B4-BE49-F238E27FC236}">
                <a16:creationId xmlns:a16="http://schemas.microsoft.com/office/drawing/2014/main" id="{C24B0E04-EF03-4201-BA65-AA421A728B0A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8112126" y="1411288"/>
            <a:ext cx="3743324" cy="2447925"/>
          </a:xfrm>
          <a:noFill/>
        </p:spPr>
        <p:txBody>
          <a:bodyPr lIns="0" tIns="0" rIns="0" bIns="576000" anchor="b"/>
          <a:lstStyle>
            <a:lvl1pPr marL="0" indent="0" algn="ctr">
              <a:buNone/>
              <a:defRPr sz="800">
                <a:solidFill>
                  <a:schemeClr val="accent4"/>
                </a:solidFill>
              </a:defRPr>
            </a:lvl1pPr>
          </a:lstStyle>
          <a:p>
            <a:r>
              <a:rPr lang="de-DE" noProof="0"/>
              <a:t>Fügen Sie ein Bild über Klicken auf das Symbol ein. </a:t>
            </a:r>
            <a:br>
              <a:rPr lang="de-DE" noProof="0"/>
            </a:br>
            <a:br>
              <a:rPr lang="de-DE" noProof="0"/>
            </a:br>
            <a:r>
              <a:rPr lang="de-DE" noProof="0"/>
              <a:t>Alternativ kopieren Sie ein Bild in die Zwischenablage, </a:t>
            </a:r>
            <a:br>
              <a:rPr lang="de-DE" noProof="0"/>
            </a:br>
            <a:r>
              <a:rPr lang="de-DE" noProof="0"/>
              <a:t>wählen Sie den Platzhalter an und klicken Sie einfügen. </a:t>
            </a:r>
          </a:p>
        </p:txBody>
      </p:sp>
      <p:sp>
        <p:nvSpPr>
          <p:cNvPr id="21" name="Bildplatzhalter 8">
            <a:extLst>
              <a:ext uri="{FF2B5EF4-FFF2-40B4-BE49-F238E27FC236}">
                <a16:creationId xmlns:a16="http://schemas.microsoft.com/office/drawing/2014/main" id="{A058E0CE-3B5A-4CBE-95CF-704E229BEC38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336551" y="4005262"/>
            <a:ext cx="3743324" cy="2447925"/>
          </a:xfrm>
          <a:noFill/>
        </p:spPr>
        <p:txBody>
          <a:bodyPr lIns="0" tIns="0" rIns="0" bIns="576000" anchor="b"/>
          <a:lstStyle>
            <a:lvl1pPr marL="0" indent="0" algn="ctr">
              <a:buNone/>
              <a:defRPr sz="800">
                <a:solidFill>
                  <a:schemeClr val="accent4"/>
                </a:solidFill>
              </a:defRPr>
            </a:lvl1pPr>
          </a:lstStyle>
          <a:p>
            <a:r>
              <a:rPr lang="de-DE" noProof="0"/>
              <a:t>Fügen Sie ein Bild über Klicken auf das Symbol ein. </a:t>
            </a:r>
            <a:br>
              <a:rPr lang="de-DE" noProof="0"/>
            </a:br>
            <a:br>
              <a:rPr lang="de-DE" noProof="0"/>
            </a:br>
            <a:r>
              <a:rPr lang="de-DE" noProof="0"/>
              <a:t>Alternativ kopieren Sie ein Bild in die Zwischenablage, </a:t>
            </a:r>
            <a:br>
              <a:rPr lang="de-DE" noProof="0"/>
            </a:br>
            <a:r>
              <a:rPr lang="de-DE" noProof="0"/>
              <a:t>wählen Sie den Platzhalter an und klicken Sie einfügen. </a:t>
            </a:r>
          </a:p>
        </p:txBody>
      </p:sp>
      <p:sp>
        <p:nvSpPr>
          <p:cNvPr id="22" name="Bildplatzhalter 8">
            <a:extLst>
              <a:ext uri="{FF2B5EF4-FFF2-40B4-BE49-F238E27FC236}">
                <a16:creationId xmlns:a16="http://schemas.microsoft.com/office/drawing/2014/main" id="{78CDFF39-B853-4D83-8433-E4559C626945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8112126" y="4005262"/>
            <a:ext cx="3743324" cy="2447925"/>
          </a:xfrm>
          <a:noFill/>
        </p:spPr>
        <p:txBody>
          <a:bodyPr lIns="0" tIns="0" rIns="0" bIns="576000" anchor="b"/>
          <a:lstStyle>
            <a:lvl1pPr marL="0" indent="0" algn="ctr">
              <a:buNone/>
              <a:defRPr sz="800">
                <a:solidFill>
                  <a:schemeClr val="accent4"/>
                </a:solidFill>
              </a:defRPr>
            </a:lvl1pPr>
          </a:lstStyle>
          <a:p>
            <a:r>
              <a:rPr lang="de-DE" noProof="0"/>
              <a:t>Fügen Sie ein Bild über Klicken auf das Symbol ein. </a:t>
            </a:r>
            <a:br>
              <a:rPr lang="de-DE" noProof="0"/>
            </a:br>
            <a:br>
              <a:rPr lang="de-DE" noProof="0"/>
            </a:br>
            <a:r>
              <a:rPr lang="de-DE" noProof="0"/>
              <a:t>Alternativ kopieren Sie ein Bild in die Zwischenablage, </a:t>
            </a:r>
            <a:br>
              <a:rPr lang="de-DE" noProof="0"/>
            </a:br>
            <a:r>
              <a:rPr lang="de-DE" noProof="0"/>
              <a:t>wählen Sie den Platzhalter an und klicken Sie einfügen. </a:t>
            </a:r>
          </a:p>
        </p:txBody>
      </p:sp>
    </p:spTree>
    <p:extLst>
      <p:ext uri="{BB962C8B-B14F-4D97-AF65-F5344CB8AC3E}">
        <p14:creationId xmlns:p14="http://schemas.microsoft.com/office/powerpoint/2010/main" val="835828466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x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F211E17-AEA1-4E11-9AC2-3A2199F9115D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noProof="0"/>
              <a:t>Click to edit Master title style</a:t>
            </a:r>
            <a:endParaRPr lang="de-DE" noProof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0358B7C0-0247-405F-8559-68AEBF15D2A5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B600E49A-8649-4AAC-A85A-83741020B512}" type="datetime1">
              <a:rPr lang="de-DE" noProof="0" smtClean="0"/>
              <a:t>22.10.2023</a:t>
            </a:fld>
            <a:endParaRPr lang="de-DE" sz="800" noProof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66AEAC1-3766-423F-81D5-D7FAEFFA55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pPr algn="ctr"/>
            <a:r>
              <a:rPr lang="de-DE" noProof="0"/>
              <a:t>Commerzbank AG, Max Mustermann, GM-C Brand Management 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1E4EAF3-3870-400C-8EC4-AC9F3893DE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CAEFDB47-5D1C-45E7-8BD0-EF74349B00F7}" type="slidenum">
              <a:rPr lang="de-DE" noProof="0" smtClean="0"/>
              <a:pPr/>
              <a:t>‹#›</a:t>
            </a:fld>
            <a:endParaRPr lang="de-DE" b="0" noProof="0"/>
          </a:p>
        </p:txBody>
      </p:sp>
      <p:sp>
        <p:nvSpPr>
          <p:cNvPr id="12" name="Bildplatzhalter 8">
            <a:extLst>
              <a:ext uri="{FF2B5EF4-FFF2-40B4-BE49-F238E27FC236}">
                <a16:creationId xmlns:a16="http://schemas.microsoft.com/office/drawing/2014/main" id="{4EF8E4A7-B965-4790-8BDD-1E1DF4817A01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336551" y="1411288"/>
            <a:ext cx="3743324" cy="2449512"/>
          </a:xfrm>
          <a:noFill/>
        </p:spPr>
        <p:txBody>
          <a:bodyPr lIns="0" tIns="0" rIns="0" bIns="576000" anchor="b"/>
          <a:lstStyle>
            <a:lvl1pPr marL="0" indent="0" algn="ctr">
              <a:buNone/>
              <a:defRPr sz="800">
                <a:solidFill>
                  <a:schemeClr val="accent4"/>
                </a:solidFill>
              </a:defRPr>
            </a:lvl1pPr>
          </a:lstStyle>
          <a:p>
            <a:r>
              <a:rPr lang="de-DE" noProof="0"/>
              <a:t>Fügen Sie ein Bild über Klicken auf das Symbol ein. </a:t>
            </a:r>
            <a:br>
              <a:rPr lang="de-DE" noProof="0"/>
            </a:br>
            <a:br>
              <a:rPr lang="de-DE" noProof="0"/>
            </a:br>
            <a:r>
              <a:rPr lang="de-DE" noProof="0"/>
              <a:t>Alternativ kopieren Sie ein Bild in die Zwischenablage, </a:t>
            </a:r>
            <a:br>
              <a:rPr lang="de-DE" noProof="0"/>
            </a:br>
            <a:r>
              <a:rPr lang="de-DE" noProof="0"/>
              <a:t>wählen Sie den Platzhalter an und klicken Sie einfügen. </a:t>
            </a:r>
          </a:p>
        </p:txBody>
      </p:sp>
      <p:sp>
        <p:nvSpPr>
          <p:cNvPr id="13" name="Bildplatzhalter 8">
            <a:extLst>
              <a:ext uri="{FF2B5EF4-FFF2-40B4-BE49-F238E27FC236}">
                <a16:creationId xmlns:a16="http://schemas.microsoft.com/office/drawing/2014/main" id="{C3A95073-1B51-4ADF-8F96-E4C84B1101F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4224338" y="1411288"/>
            <a:ext cx="3743324" cy="2449512"/>
          </a:xfrm>
          <a:noFill/>
        </p:spPr>
        <p:txBody>
          <a:bodyPr lIns="0" tIns="0" rIns="0" bIns="576000" anchor="b"/>
          <a:lstStyle>
            <a:lvl1pPr marL="0" indent="0" algn="ctr">
              <a:buNone/>
              <a:defRPr sz="800">
                <a:solidFill>
                  <a:schemeClr val="accent4"/>
                </a:solidFill>
              </a:defRPr>
            </a:lvl1pPr>
          </a:lstStyle>
          <a:p>
            <a:r>
              <a:rPr lang="de-DE" noProof="0"/>
              <a:t>Fügen Sie ein Bild über Klicken auf das Symbol ein. </a:t>
            </a:r>
            <a:br>
              <a:rPr lang="de-DE" noProof="0"/>
            </a:br>
            <a:br>
              <a:rPr lang="de-DE" noProof="0"/>
            </a:br>
            <a:r>
              <a:rPr lang="de-DE" noProof="0"/>
              <a:t>Alternativ kopieren Sie ein Bild in die Zwischenablage, </a:t>
            </a:r>
            <a:br>
              <a:rPr lang="de-DE" noProof="0"/>
            </a:br>
            <a:r>
              <a:rPr lang="de-DE" noProof="0"/>
              <a:t>wählen Sie den Platzhalter an und klicken Sie einfügen. </a:t>
            </a:r>
          </a:p>
        </p:txBody>
      </p:sp>
      <p:sp>
        <p:nvSpPr>
          <p:cNvPr id="15" name="Bildplatzhalter 8">
            <a:extLst>
              <a:ext uri="{FF2B5EF4-FFF2-40B4-BE49-F238E27FC236}">
                <a16:creationId xmlns:a16="http://schemas.microsoft.com/office/drawing/2014/main" id="{5F59BAA5-C9C9-49A1-BBE9-B7C98BB1589A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8112126" y="1411288"/>
            <a:ext cx="3743324" cy="2449512"/>
          </a:xfrm>
          <a:noFill/>
        </p:spPr>
        <p:txBody>
          <a:bodyPr lIns="0" tIns="0" rIns="0" bIns="576000" anchor="b"/>
          <a:lstStyle>
            <a:lvl1pPr marL="0" indent="0" algn="ctr">
              <a:buNone/>
              <a:defRPr sz="800">
                <a:solidFill>
                  <a:schemeClr val="accent4"/>
                </a:solidFill>
              </a:defRPr>
            </a:lvl1pPr>
          </a:lstStyle>
          <a:p>
            <a:r>
              <a:rPr lang="de-DE" noProof="0"/>
              <a:t>Fügen Sie ein Bild über Klicken auf das Symbol ein. </a:t>
            </a:r>
            <a:br>
              <a:rPr lang="de-DE" noProof="0"/>
            </a:br>
            <a:br>
              <a:rPr lang="de-DE" noProof="0"/>
            </a:br>
            <a:r>
              <a:rPr lang="de-DE" noProof="0"/>
              <a:t>Alternativ kopieren Sie ein Bild in die Zwischenablage, </a:t>
            </a:r>
            <a:br>
              <a:rPr lang="de-DE" noProof="0"/>
            </a:br>
            <a:r>
              <a:rPr lang="de-DE" noProof="0"/>
              <a:t>wählen Sie den Platzhalter an und klicken Sie einfügen. </a:t>
            </a:r>
          </a:p>
        </p:txBody>
      </p:sp>
      <p:sp>
        <p:nvSpPr>
          <p:cNvPr id="16" name="Bildplatzhalter 8">
            <a:extLst>
              <a:ext uri="{FF2B5EF4-FFF2-40B4-BE49-F238E27FC236}">
                <a16:creationId xmlns:a16="http://schemas.microsoft.com/office/drawing/2014/main" id="{E6CF86C4-B871-4E6C-A72D-FE10F8E4213E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336551" y="4005262"/>
            <a:ext cx="3743324" cy="2447925"/>
          </a:xfrm>
          <a:noFill/>
        </p:spPr>
        <p:txBody>
          <a:bodyPr lIns="0" tIns="0" rIns="0" bIns="576000" anchor="b"/>
          <a:lstStyle>
            <a:lvl1pPr marL="0" indent="0" algn="ctr">
              <a:buNone/>
              <a:defRPr sz="800">
                <a:solidFill>
                  <a:schemeClr val="accent4"/>
                </a:solidFill>
              </a:defRPr>
            </a:lvl1pPr>
          </a:lstStyle>
          <a:p>
            <a:r>
              <a:rPr lang="de-DE" noProof="0"/>
              <a:t>Fügen Sie ein Bild über Klicken auf das Symbol ein. </a:t>
            </a:r>
            <a:br>
              <a:rPr lang="de-DE" noProof="0"/>
            </a:br>
            <a:br>
              <a:rPr lang="de-DE" noProof="0"/>
            </a:br>
            <a:r>
              <a:rPr lang="de-DE" noProof="0"/>
              <a:t>Alternativ kopieren Sie ein Bild in die Zwischenablage, </a:t>
            </a:r>
            <a:br>
              <a:rPr lang="de-DE" noProof="0"/>
            </a:br>
            <a:r>
              <a:rPr lang="de-DE" noProof="0"/>
              <a:t>wählen Sie den Platzhalter an und klicken Sie einfügen. </a:t>
            </a:r>
          </a:p>
        </p:txBody>
      </p:sp>
      <p:sp>
        <p:nvSpPr>
          <p:cNvPr id="17" name="Bildplatzhalter 8">
            <a:extLst>
              <a:ext uri="{FF2B5EF4-FFF2-40B4-BE49-F238E27FC236}">
                <a16:creationId xmlns:a16="http://schemas.microsoft.com/office/drawing/2014/main" id="{3C2A06D1-8FFB-41EA-BF69-68EEC7702D25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4224338" y="4005262"/>
            <a:ext cx="3743324" cy="2447925"/>
          </a:xfrm>
          <a:noFill/>
        </p:spPr>
        <p:txBody>
          <a:bodyPr lIns="0" tIns="0" rIns="0" bIns="576000" anchor="b"/>
          <a:lstStyle>
            <a:lvl1pPr marL="0" indent="0" algn="ctr">
              <a:buNone/>
              <a:defRPr sz="800">
                <a:solidFill>
                  <a:schemeClr val="accent4"/>
                </a:solidFill>
              </a:defRPr>
            </a:lvl1pPr>
          </a:lstStyle>
          <a:p>
            <a:r>
              <a:rPr lang="de-DE" noProof="0"/>
              <a:t>Fügen Sie ein Bild über Klicken auf das Symbol ein. </a:t>
            </a:r>
            <a:br>
              <a:rPr lang="de-DE" noProof="0"/>
            </a:br>
            <a:br>
              <a:rPr lang="de-DE" noProof="0"/>
            </a:br>
            <a:r>
              <a:rPr lang="de-DE" noProof="0"/>
              <a:t>Alternativ kopieren Sie ein Bild in die Zwischenablage, </a:t>
            </a:r>
            <a:br>
              <a:rPr lang="de-DE" noProof="0"/>
            </a:br>
            <a:r>
              <a:rPr lang="de-DE" noProof="0"/>
              <a:t>wählen Sie den Platzhalter an und klicken Sie einfügen. </a:t>
            </a:r>
          </a:p>
        </p:txBody>
      </p:sp>
      <p:sp>
        <p:nvSpPr>
          <p:cNvPr id="18" name="Bildplatzhalter 8">
            <a:extLst>
              <a:ext uri="{FF2B5EF4-FFF2-40B4-BE49-F238E27FC236}">
                <a16:creationId xmlns:a16="http://schemas.microsoft.com/office/drawing/2014/main" id="{2C8BF51C-A7F1-4507-BB17-25073365B258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 bwMode="gray">
          <a:xfrm>
            <a:off x="8112126" y="4005262"/>
            <a:ext cx="3743324" cy="2447925"/>
          </a:xfrm>
          <a:noFill/>
        </p:spPr>
        <p:txBody>
          <a:bodyPr lIns="0" tIns="0" rIns="0" bIns="576000" anchor="b"/>
          <a:lstStyle>
            <a:lvl1pPr marL="0" indent="0" algn="ctr">
              <a:buNone/>
              <a:defRPr sz="800">
                <a:solidFill>
                  <a:schemeClr val="accent4"/>
                </a:solidFill>
              </a:defRPr>
            </a:lvl1pPr>
          </a:lstStyle>
          <a:p>
            <a:r>
              <a:rPr lang="de-DE" noProof="0"/>
              <a:t>Fügen Sie ein Bild über Klicken auf das Symbol ein. </a:t>
            </a:r>
            <a:br>
              <a:rPr lang="de-DE" noProof="0"/>
            </a:br>
            <a:br>
              <a:rPr lang="de-DE" noProof="0"/>
            </a:br>
            <a:r>
              <a:rPr lang="de-DE" noProof="0"/>
              <a:t>Alternativ kopieren Sie ein Bild in die Zwischenablage, </a:t>
            </a:r>
            <a:br>
              <a:rPr lang="de-DE" noProof="0"/>
            </a:br>
            <a:r>
              <a:rPr lang="de-DE" noProof="0"/>
              <a:t>wählen Sie den Platzhalter an und klicken Sie einfügen. </a:t>
            </a:r>
          </a:p>
        </p:txBody>
      </p:sp>
    </p:spTree>
    <p:extLst>
      <p:ext uri="{BB962C8B-B14F-4D97-AF65-F5344CB8AC3E}">
        <p14:creationId xmlns:p14="http://schemas.microsoft.com/office/powerpoint/2010/main" val="614527984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4E8E5B0D-9C22-438C-8C31-4E9389D516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52787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4E8E5B0D-9C22-438C-8C31-4E9389D516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platzhalter 6">
            <a:extLst>
              <a:ext uri="{FF2B5EF4-FFF2-40B4-BE49-F238E27FC236}">
                <a16:creationId xmlns:a16="http://schemas.microsoft.com/office/drawing/2014/main" id="{0816DA9D-D2BE-4E0E-A5A8-8715DF27BEE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336550" y="0"/>
            <a:ext cx="11518900" cy="4004667"/>
          </a:xfrm>
        </p:spPr>
        <p:txBody>
          <a:bodyPr wrap="square" anchor="b">
            <a:normAutofit/>
          </a:bodyPr>
          <a:lstStyle>
            <a:lvl1pPr marL="0" indent="0" algn="ctr">
              <a:spcBef>
                <a:spcPts val="0"/>
              </a:spcBef>
              <a:buFont typeface="Arial" panose="020B0604020202020204" pitchFamily="34" charset="0"/>
              <a:buNone/>
              <a:defRPr sz="20000" b="1">
                <a:solidFill>
                  <a:schemeClr val="accent2"/>
                </a:solidFill>
              </a:defRPr>
            </a:lvl1pPr>
            <a:lvl2pPr marL="0" indent="0" algn="ctr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None/>
              <a:defRPr sz="20000" b="1">
                <a:solidFill>
                  <a:schemeClr val="accent2"/>
                </a:solidFill>
              </a:defRPr>
            </a:lvl2pPr>
            <a:lvl3pPr marL="0" indent="0" algn="ctr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None/>
              <a:defRPr sz="20000" b="1">
                <a:solidFill>
                  <a:schemeClr val="accent2"/>
                </a:solidFill>
              </a:defRPr>
            </a:lvl3pPr>
            <a:lvl4pPr marL="0" indent="0" algn="ctr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0" b="1">
                <a:solidFill>
                  <a:schemeClr val="accent2"/>
                </a:solidFill>
              </a:defRPr>
            </a:lvl4pPr>
            <a:lvl5pPr marL="0" indent="0" algn="ctr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0" b="1">
                <a:solidFill>
                  <a:schemeClr val="accent2"/>
                </a:solidFill>
              </a:defRPr>
            </a:lvl5pPr>
            <a:lvl6pPr marL="0" indent="0" algn="ctr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0" b="1">
                <a:solidFill>
                  <a:schemeClr val="accent2"/>
                </a:solidFill>
              </a:defRPr>
            </a:lvl6pPr>
            <a:lvl7pPr marL="0" indent="0" algn="ctr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0" b="1">
                <a:solidFill>
                  <a:schemeClr val="accent2"/>
                </a:solidFill>
              </a:defRPr>
            </a:lvl7pPr>
            <a:lvl8pPr marL="0" indent="0" algn="ctr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0" b="1">
                <a:solidFill>
                  <a:schemeClr val="accent2"/>
                </a:solidFill>
              </a:defRPr>
            </a:lvl8pPr>
            <a:lvl9pPr marL="0" indent="0" algn="ctr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0" b="1">
                <a:solidFill>
                  <a:schemeClr val="accent2"/>
                </a:solidFill>
              </a:defRPr>
            </a:lvl9pPr>
          </a:lstStyle>
          <a:p>
            <a:pPr lvl="0"/>
            <a:r>
              <a:rPr lang="de-DE" noProof="0" dirty="0"/>
              <a:t>100%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1F30E42B-4757-47CD-8114-9C88FB35A22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3251200" y="5155606"/>
            <a:ext cx="5689600" cy="1297582"/>
          </a:xfrm>
        </p:spPr>
        <p:txBody>
          <a:bodyPr/>
          <a:lstStyle>
            <a:lvl1pPr marL="0" indent="0" algn="ctr">
              <a:spcAft>
                <a:spcPts val="0"/>
              </a:spcAft>
              <a:buFont typeface="Arial" panose="020B0604020202020204" pitchFamily="34" charset="0"/>
              <a:buNone/>
              <a:defRPr b="0"/>
            </a:lvl1pPr>
            <a:lvl2pPr marL="0" indent="0" algn="ctr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200" b="0">
                <a:solidFill>
                  <a:schemeClr val="accent1"/>
                </a:solidFill>
              </a:defRPr>
            </a:lvl2pPr>
            <a:lvl3pPr marL="0" indent="0" algn="ctr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200" b="0">
                <a:solidFill>
                  <a:schemeClr val="accent1"/>
                </a:solidFill>
              </a:defRPr>
            </a:lvl3pPr>
            <a:lvl4pPr marL="0" indent="0" algn="ctr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accent1"/>
                </a:solidFill>
              </a:defRPr>
            </a:lvl4pPr>
            <a:lvl5pPr marL="0" indent="0" algn="ctr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accent1"/>
                </a:solidFill>
              </a:defRPr>
            </a:lvl5pPr>
            <a:lvl6pPr marL="0" indent="0" algn="ctr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accent1"/>
                </a:solidFill>
              </a:defRPr>
            </a:lvl6pPr>
            <a:lvl7pPr marL="0" indent="0" algn="ctr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accent1"/>
                </a:solidFill>
              </a:defRPr>
            </a:lvl7pPr>
            <a:lvl8pPr marL="0" indent="0" algn="ctr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accent1"/>
                </a:solidFill>
              </a:defRPr>
            </a:lvl8pPr>
            <a:lvl9pPr marL="0" indent="0" algn="ctr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F7AC2E15-C1F4-4005-BE2B-EEE437719B68}"/>
              </a:ext>
            </a:extLst>
          </p:cNvPr>
          <p:cNvSpPr>
            <a:spLocks noGrp="1"/>
          </p:cNvSpPr>
          <p:nvPr>
            <p:ph type="dt" sz="half" idx="19"/>
          </p:nvPr>
        </p:nvSpPr>
        <p:spPr bwMode="gray"/>
        <p:txBody>
          <a:bodyPr/>
          <a:lstStyle/>
          <a:p>
            <a:fld id="{4C0A0D09-04DB-44A3-9C81-D4B021CBA7FA}" type="datetime1">
              <a:rPr lang="de-DE" noProof="0" smtClean="0"/>
              <a:t>22.10.2023</a:t>
            </a:fld>
            <a:endParaRPr lang="de-DE" sz="800" noProof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7F9BD44-96D2-4326-8E57-5D0B294639BA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 bwMode="gray"/>
        <p:txBody>
          <a:bodyPr/>
          <a:lstStyle/>
          <a:p>
            <a:pPr algn="ctr"/>
            <a:r>
              <a:rPr lang="de-DE" noProof="0"/>
              <a:t>Commerzbank AG, Max Mustermann, GM-C Brand Management 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945491B-74AB-4CF6-9AC6-E80178BCE87D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 bwMode="gray"/>
        <p:txBody>
          <a:bodyPr/>
          <a:lstStyle/>
          <a:p>
            <a:fld id="{CAEFDB47-5D1C-45E7-8BD0-EF74349B00F7}" type="slidenum">
              <a:rPr lang="de-DE" noProof="0" smtClean="0"/>
              <a:pPr/>
              <a:t>‹#›</a:t>
            </a:fld>
            <a:endParaRPr lang="de-DE" b="1" noProof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BB9208B-8121-464A-8899-BDC6155930B8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3251200" y="4004667"/>
            <a:ext cx="5689600" cy="1150939"/>
          </a:xfrm>
        </p:spPr>
        <p:txBody>
          <a:bodyPr tIns="0" rIns="0"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5907749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chapt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9A50A06-F1AD-43B0-B0C8-484379FAC66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336550" y="1412874"/>
            <a:ext cx="11520487" cy="3311525"/>
          </a:xfrm>
        </p:spPr>
        <p:txBody>
          <a:bodyPr rIns="0" bIns="144000" anchor="b"/>
          <a:lstStyle>
            <a:lvl1pPr algn="ctr">
              <a:defRPr sz="6600"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Diese Folie </a:t>
            </a:r>
            <a:br>
              <a:rPr lang="de-DE" noProof="0"/>
            </a:br>
            <a:r>
              <a:rPr lang="de-DE" noProof="0"/>
              <a:t>dient zur Trennung </a:t>
            </a:r>
            <a:br>
              <a:rPr lang="de-DE" noProof="0"/>
            </a:br>
            <a:r>
              <a:rPr lang="de-DE" noProof="0"/>
              <a:t>zweier Kapitel.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95C52B9B-1FC0-4A8D-A22E-A6CDD925629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251200" y="5445000"/>
            <a:ext cx="5689116" cy="574675"/>
          </a:xfrm>
        </p:spPr>
        <p:txBody>
          <a:bodyPr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</a:defRPr>
            </a:lvl1pPr>
            <a:lvl2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accent1"/>
                </a:solidFill>
              </a:defRPr>
            </a:lvl2pPr>
            <a:lvl3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accent1"/>
                </a:solidFill>
              </a:defRPr>
            </a:lvl3pPr>
            <a:lvl4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accent1"/>
                </a:solidFill>
              </a:defRPr>
            </a:lvl4pPr>
            <a:lvl5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accent1"/>
                </a:solidFill>
              </a:defRPr>
            </a:lvl5pPr>
            <a:lvl6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accent1"/>
                </a:solidFill>
              </a:defRPr>
            </a:lvl6pPr>
            <a:lvl7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accent1"/>
                </a:solidFill>
              </a:defRPr>
            </a:lvl7pPr>
            <a:lvl8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accent1"/>
                </a:solidFill>
              </a:defRPr>
            </a:lvl8pPr>
            <a:lvl9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de-DE" noProof="0"/>
              <a:t>Kapitel Nr. #</a:t>
            </a:r>
          </a:p>
          <a:p>
            <a:pPr lvl="0"/>
            <a:r>
              <a:rPr lang="de-DE" noProof="0"/>
              <a:t>Mastertextformat bearbeiten</a:t>
            </a:r>
          </a:p>
          <a:p>
            <a:endParaRPr lang="de-DE" noProof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4E3DEDE0-3E07-4627-AD96-C6063050C4DB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483695CE-97E0-4CD6-B802-B15D02768A83}" type="datetime1">
              <a:rPr lang="de-DE" noProof="0" smtClean="0"/>
              <a:t>22.10.2023</a:t>
            </a:fld>
            <a:endParaRPr lang="de-DE" sz="800" noProof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BDF8C092-A49F-4DD6-8F20-B661BFC6918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pPr algn="ctr"/>
            <a:r>
              <a:rPr lang="de-DE" noProof="0"/>
              <a:t>Commerzbank AG, Max Mustermann, GM-C Brand Management 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681E0284-754D-4AA2-B034-1CF352966B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CAEFDB47-5D1C-45E7-8BD0-EF74349B00F7}" type="slidenum">
              <a:rPr lang="de-DE" noProof="0" smtClean="0"/>
              <a:pPr/>
              <a:t>‹#›</a:t>
            </a:fld>
            <a:endParaRPr lang="de-DE" b="1" noProof="0"/>
          </a:p>
        </p:txBody>
      </p:sp>
      <p:sp>
        <p:nvSpPr>
          <p:cNvPr id="9" name="Google Shape;192;p37">
            <a:extLst>
              <a:ext uri="{FF2B5EF4-FFF2-40B4-BE49-F238E27FC236}">
                <a16:creationId xmlns:a16="http://schemas.microsoft.com/office/drawing/2014/main" id="{6BEF86A6-4188-418C-9CCC-F9615322F4D4}"/>
              </a:ext>
            </a:extLst>
          </p:cNvPr>
          <p:cNvSpPr/>
          <p:nvPr userDrawn="1"/>
        </p:nvSpPr>
        <p:spPr bwMode="gray">
          <a:xfrm>
            <a:off x="5232000" y="4868863"/>
            <a:ext cx="1731102" cy="142423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>
            <a:noFill/>
          </a:ln>
        </p:spPr>
        <p:txBody>
          <a:bodyPr spcFirstLastPara="1" wrap="square" lIns="91450" tIns="45700" rIns="91450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de-DE" sz="1800" noProof="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08277503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x Big 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A3E44ED3-CF40-4D39-A592-54FB189FA1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621453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A3E44ED3-CF40-4D39-A592-54FB189FA1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platzhalter 6">
            <a:extLst>
              <a:ext uri="{FF2B5EF4-FFF2-40B4-BE49-F238E27FC236}">
                <a16:creationId xmlns:a16="http://schemas.microsoft.com/office/drawing/2014/main" id="{0816DA9D-D2BE-4E0E-A5A8-8715DF27BEE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336550" y="1125538"/>
            <a:ext cx="5688013" cy="2303462"/>
          </a:xfrm>
        </p:spPr>
        <p:txBody>
          <a:bodyPr wrap="square" anchor="b">
            <a:normAutofit/>
          </a:bodyPr>
          <a:lstStyle>
            <a:lvl1pPr marL="0" indent="0" algn="ctr">
              <a:spcBef>
                <a:spcPts val="0"/>
              </a:spcBef>
              <a:buFont typeface="Arial" panose="020B0604020202020204" pitchFamily="34" charset="0"/>
              <a:buNone/>
              <a:defRPr sz="11500" b="1">
                <a:solidFill>
                  <a:schemeClr val="accent2"/>
                </a:solidFill>
              </a:defRPr>
            </a:lvl1pPr>
            <a:lvl2pPr marL="0" indent="0" algn="ctr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None/>
              <a:defRPr sz="11500" b="1">
                <a:solidFill>
                  <a:schemeClr val="accent2"/>
                </a:solidFill>
              </a:defRPr>
            </a:lvl2pPr>
            <a:lvl3pPr marL="0" indent="0" algn="ctr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None/>
              <a:defRPr sz="11500" b="1">
                <a:solidFill>
                  <a:schemeClr val="accent2"/>
                </a:solidFill>
              </a:defRPr>
            </a:lvl3pPr>
            <a:lvl4pPr marL="0" indent="0" algn="ctr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1500" b="1">
                <a:solidFill>
                  <a:schemeClr val="accent2"/>
                </a:solidFill>
              </a:defRPr>
            </a:lvl4pPr>
            <a:lvl5pPr marL="0" indent="0" algn="ctr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1500" b="1">
                <a:solidFill>
                  <a:schemeClr val="accent2"/>
                </a:solidFill>
              </a:defRPr>
            </a:lvl5pPr>
            <a:lvl6pPr marL="0" indent="0" algn="ctr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1500" b="1">
                <a:solidFill>
                  <a:schemeClr val="accent2"/>
                </a:solidFill>
              </a:defRPr>
            </a:lvl6pPr>
            <a:lvl7pPr marL="0" indent="0" algn="ctr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1500" b="1">
                <a:solidFill>
                  <a:schemeClr val="accent2"/>
                </a:solidFill>
              </a:defRPr>
            </a:lvl7pPr>
            <a:lvl8pPr marL="0" indent="0" algn="ctr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1500" b="1">
                <a:solidFill>
                  <a:schemeClr val="accent2"/>
                </a:solidFill>
              </a:defRPr>
            </a:lvl8pPr>
            <a:lvl9pPr marL="0" indent="0" algn="ctr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1500" b="1">
                <a:solidFill>
                  <a:schemeClr val="accent2"/>
                </a:solidFill>
              </a:defRPr>
            </a:lvl9pPr>
          </a:lstStyle>
          <a:p>
            <a:pPr lvl="0"/>
            <a:r>
              <a:rPr lang="de-DE" noProof="0" dirty="0"/>
              <a:t>100%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1F30E42B-4757-47CD-8114-9C88FB35A22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336550" y="4724400"/>
            <a:ext cx="5688013" cy="1728788"/>
          </a:xfrm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 b="0"/>
            </a:lvl1pPr>
            <a:lvl2pPr marL="0" indent="0" algn="ctr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200" b="0">
                <a:solidFill>
                  <a:schemeClr val="accent1"/>
                </a:solidFill>
              </a:defRPr>
            </a:lvl2pPr>
            <a:lvl3pPr marL="0" indent="0" algn="ctr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200" b="0">
                <a:solidFill>
                  <a:schemeClr val="accent1"/>
                </a:solidFill>
              </a:defRPr>
            </a:lvl3pPr>
            <a:lvl4pPr marL="0" indent="0" algn="ctr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accent1"/>
                </a:solidFill>
              </a:defRPr>
            </a:lvl4pPr>
            <a:lvl5pPr marL="0" indent="0" algn="ctr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accent1"/>
                </a:solidFill>
              </a:defRPr>
            </a:lvl5pPr>
            <a:lvl6pPr marL="0" indent="0" algn="ctr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accent1"/>
                </a:solidFill>
              </a:defRPr>
            </a:lvl6pPr>
            <a:lvl7pPr marL="0" indent="0" algn="ctr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accent1"/>
                </a:solidFill>
              </a:defRPr>
            </a:lvl7pPr>
            <a:lvl8pPr marL="0" indent="0" algn="ctr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accent1"/>
                </a:solidFill>
              </a:defRPr>
            </a:lvl8pPr>
            <a:lvl9pPr marL="0" indent="0" algn="ctr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F7AC2E15-C1F4-4005-BE2B-EEE437719B68}"/>
              </a:ext>
            </a:extLst>
          </p:cNvPr>
          <p:cNvSpPr>
            <a:spLocks noGrp="1"/>
          </p:cNvSpPr>
          <p:nvPr>
            <p:ph type="dt" sz="half" idx="19"/>
          </p:nvPr>
        </p:nvSpPr>
        <p:spPr bwMode="gray"/>
        <p:txBody>
          <a:bodyPr/>
          <a:lstStyle/>
          <a:p>
            <a:fld id="{14551B14-2AF9-41FD-884E-8E58EA2B8DB4}" type="datetime1">
              <a:rPr lang="de-DE" noProof="0" smtClean="0"/>
              <a:t>22.10.2023</a:t>
            </a:fld>
            <a:endParaRPr lang="de-DE" sz="800" noProof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7F9BD44-96D2-4326-8E57-5D0B294639BA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 bwMode="gray"/>
        <p:txBody>
          <a:bodyPr/>
          <a:lstStyle/>
          <a:p>
            <a:pPr algn="ctr"/>
            <a:r>
              <a:rPr lang="de-DE" noProof="0"/>
              <a:t>Commerzbank AG, Max Mustermann, GM-C Brand Management 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945491B-74AB-4CF6-9AC6-E80178BCE87D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 bwMode="gray"/>
        <p:txBody>
          <a:bodyPr/>
          <a:lstStyle/>
          <a:p>
            <a:fld id="{CAEFDB47-5D1C-45E7-8BD0-EF74349B00F7}" type="slidenum">
              <a:rPr lang="de-DE" noProof="0" smtClean="0"/>
              <a:pPr/>
              <a:t>‹#›</a:t>
            </a:fld>
            <a:endParaRPr lang="de-DE" b="1" noProof="0"/>
          </a:p>
        </p:txBody>
      </p:sp>
      <p:sp>
        <p:nvSpPr>
          <p:cNvPr id="23" name="Textplatzhalter 6">
            <a:extLst>
              <a:ext uri="{FF2B5EF4-FFF2-40B4-BE49-F238E27FC236}">
                <a16:creationId xmlns:a16="http://schemas.microsoft.com/office/drawing/2014/main" id="{35BE10ED-69AC-4620-BD68-23B7AF9C487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 bwMode="gray">
          <a:xfrm>
            <a:off x="336551" y="3429000"/>
            <a:ext cx="5688012" cy="1295400"/>
          </a:xfrm>
        </p:spPr>
        <p:txBody>
          <a:bodyPr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1"/>
            </a:lvl1pPr>
            <a:lvl2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3200" b="1">
                <a:solidFill>
                  <a:schemeClr val="accent1"/>
                </a:solidFill>
              </a:defRPr>
            </a:lvl2pPr>
            <a:lvl3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3200" b="1">
                <a:solidFill>
                  <a:schemeClr val="accent1"/>
                </a:solidFill>
              </a:defRPr>
            </a:lvl3pPr>
            <a:lvl4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1">
                <a:solidFill>
                  <a:schemeClr val="accent1"/>
                </a:solidFill>
              </a:defRPr>
            </a:lvl4pPr>
            <a:lvl5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1">
                <a:solidFill>
                  <a:schemeClr val="accent1"/>
                </a:solidFill>
              </a:defRPr>
            </a:lvl5pPr>
            <a:lvl6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1">
                <a:solidFill>
                  <a:schemeClr val="accent1"/>
                </a:solidFill>
              </a:defRPr>
            </a:lvl6pPr>
            <a:lvl7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1">
                <a:solidFill>
                  <a:schemeClr val="accent1"/>
                </a:solidFill>
              </a:defRPr>
            </a:lvl7pPr>
            <a:lvl8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1">
                <a:solidFill>
                  <a:schemeClr val="accent1"/>
                </a:solidFill>
              </a:defRPr>
            </a:lvl8pPr>
            <a:lvl9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1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4" name="Textplatzhalter 6">
            <a:extLst>
              <a:ext uri="{FF2B5EF4-FFF2-40B4-BE49-F238E27FC236}">
                <a16:creationId xmlns:a16="http://schemas.microsoft.com/office/drawing/2014/main" id="{E1303003-72BC-4F2D-AABF-B4153A9F510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6167439" y="1125538"/>
            <a:ext cx="5689600" cy="2303462"/>
          </a:xfrm>
        </p:spPr>
        <p:txBody>
          <a:bodyPr wrap="square" anchor="b">
            <a:normAutofit/>
          </a:bodyPr>
          <a:lstStyle>
            <a:lvl1pPr marL="0" indent="0" algn="ctr">
              <a:spcBef>
                <a:spcPts val="0"/>
              </a:spcBef>
              <a:buFont typeface="Arial" panose="020B0604020202020204" pitchFamily="34" charset="0"/>
              <a:buNone/>
              <a:defRPr sz="11500" b="1">
                <a:solidFill>
                  <a:schemeClr val="accent2"/>
                </a:solidFill>
              </a:defRPr>
            </a:lvl1pPr>
            <a:lvl2pPr marL="0" indent="0" algn="ctr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None/>
              <a:defRPr sz="11500" b="1">
                <a:solidFill>
                  <a:schemeClr val="accent2"/>
                </a:solidFill>
              </a:defRPr>
            </a:lvl2pPr>
            <a:lvl3pPr marL="0" indent="0" algn="ctr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None/>
              <a:defRPr sz="11500" b="1">
                <a:solidFill>
                  <a:schemeClr val="accent2"/>
                </a:solidFill>
              </a:defRPr>
            </a:lvl3pPr>
            <a:lvl4pPr marL="0" indent="0" algn="ctr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1500" b="1">
                <a:solidFill>
                  <a:schemeClr val="accent2"/>
                </a:solidFill>
              </a:defRPr>
            </a:lvl4pPr>
            <a:lvl5pPr marL="0" indent="0" algn="ctr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1500" b="1">
                <a:solidFill>
                  <a:schemeClr val="accent2"/>
                </a:solidFill>
              </a:defRPr>
            </a:lvl5pPr>
            <a:lvl6pPr marL="0" indent="0" algn="ctr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1500" b="1">
                <a:solidFill>
                  <a:schemeClr val="accent2"/>
                </a:solidFill>
              </a:defRPr>
            </a:lvl6pPr>
            <a:lvl7pPr marL="0" indent="0" algn="ctr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1500" b="1">
                <a:solidFill>
                  <a:schemeClr val="accent2"/>
                </a:solidFill>
              </a:defRPr>
            </a:lvl7pPr>
            <a:lvl8pPr marL="0" indent="0" algn="ctr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1500" b="1">
                <a:solidFill>
                  <a:schemeClr val="accent2"/>
                </a:solidFill>
              </a:defRPr>
            </a:lvl8pPr>
            <a:lvl9pPr marL="0" indent="0" algn="ctr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1500" b="1">
                <a:solidFill>
                  <a:schemeClr val="accent2"/>
                </a:solidFill>
              </a:defRPr>
            </a:lvl9pPr>
          </a:lstStyle>
          <a:p>
            <a:pPr lvl="0"/>
            <a:r>
              <a:rPr lang="de-DE" noProof="0" dirty="0"/>
              <a:t>100%</a:t>
            </a:r>
          </a:p>
        </p:txBody>
      </p:sp>
      <p:sp>
        <p:nvSpPr>
          <p:cNvPr id="15" name="Textplatzhalter 6">
            <a:extLst>
              <a:ext uri="{FF2B5EF4-FFF2-40B4-BE49-F238E27FC236}">
                <a16:creationId xmlns:a16="http://schemas.microsoft.com/office/drawing/2014/main" id="{2B6D0FF4-26E7-47A8-91E4-49520D17962E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 bwMode="gray">
          <a:xfrm>
            <a:off x="6167438" y="4724400"/>
            <a:ext cx="5689600" cy="1728788"/>
          </a:xfrm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 b="0"/>
            </a:lvl1pPr>
            <a:lvl2pPr marL="0" indent="0" algn="ctr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None/>
              <a:defRPr sz="1200" b="0">
                <a:solidFill>
                  <a:schemeClr val="accent1"/>
                </a:solidFill>
              </a:defRPr>
            </a:lvl2pPr>
            <a:lvl3pPr marL="0" indent="0" algn="ctr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None/>
              <a:defRPr sz="1200" b="0">
                <a:solidFill>
                  <a:schemeClr val="accent1"/>
                </a:solidFill>
              </a:defRPr>
            </a:lvl3pPr>
            <a:lvl4pPr marL="0" indent="0" algn="ctr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>
                <a:solidFill>
                  <a:schemeClr val="accent1"/>
                </a:solidFill>
              </a:defRPr>
            </a:lvl4pPr>
            <a:lvl5pPr marL="0" indent="0" algn="ctr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>
                <a:solidFill>
                  <a:schemeClr val="accent1"/>
                </a:solidFill>
              </a:defRPr>
            </a:lvl5pPr>
            <a:lvl6pPr marL="0" indent="0" algn="ctr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>
                <a:solidFill>
                  <a:schemeClr val="accent1"/>
                </a:solidFill>
              </a:defRPr>
            </a:lvl6pPr>
            <a:lvl7pPr marL="0" indent="0" algn="ctr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>
                <a:solidFill>
                  <a:schemeClr val="accent1"/>
                </a:solidFill>
              </a:defRPr>
            </a:lvl7pPr>
            <a:lvl8pPr marL="0" indent="0" algn="ctr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>
                <a:solidFill>
                  <a:schemeClr val="accent1"/>
                </a:solidFill>
              </a:defRPr>
            </a:lvl8pPr>
            <a:lvl9pPr marL="0" indent="0" algn="ctr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6" name="Textplatzhalter 6">
            <a:extLst>
              <a:ext uri="{FF2B5EF4-FFF2-40B4-BE49-F238E27FC236}">
                <a16:creationId xmlns:a16="http://schemas.microsoft.com/office/drawing/2014/main" id="{C961F0CB-55DD-4B93-BAC0-8CEB8FC904AE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 bwMode="gray">
          <a:xfrm>
            <a:off x="6167438" y="3429000"/>
            <a:ext cx="5689600" cy="1295400"/>
          </a:xfrm>
        </p:spPr>
        <p:txBody>
          <a:bodyPr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1"/>
            </a:lvl1pPr>
            <a:lvl2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3200" b="1">
                <a:solidFill>
                  <a:schemeClr val="accent1"/>
                </a:solidFill>
              </a:defRPr>
            </a:lvl2pPr>
            <a:lvl3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3200" b="1">
                <a:solidFill>
                  <a:schemeClr val="accent1"/>
                </a:solidFill>
              </a:defRPr>
            </a:lvl3pPr>
            <a:lvl4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1">
                <a:solidFill>
                  <a:schemeClr val="accent1"/>
                </a:solidFill>
              </a:defRPr>
            </a:lvl4pPr>
            <a:lvl5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1">
                <a:solidFill>
                  <a:schemeClr val="accent1"/>
                </a:solidFill>
              </a:defRPr>
            </a:lvl5pPr>
            <a:lvl6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1">
                <a:solidFill>
                  <a:schemeClr val="accent1"/>
                </a:solidFill>
              </a:defRPr>
            </a:lvl6pPr>
            <a:lvl7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1">
                <a:solidFill>
                  <a:schemeClr val="accent1"/>
                </a:solidFill>
              </a:defRPr>
            </a:lvl7pPr>
            <a:lvl8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1">
                <a:solidFill>
                  <a:schemeClr val="accent1"/>
                </a:solidFill>
              </a:defRPr>
            </a:lvl8pPr>
            <a:lvl9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1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99FEA71-D758-4C45-A4B8-27C089EE82FD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229525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35C1FFB7-E45A-487F-9DA5-4D1DFF6841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6551" y="-1"/>
            <a:ext cx="11518898" cy="3428999"/>
          </a:xfrm>
        </p:spPr>
        <p:txBody>
          <a:bodyPr tIns="360000" rIns="0" anchor="b"/>
          <a:lstStyle>
            <a:lvl1pPr algn="ctr">
              <a:defRPr sz="4800"/>
            </a:lvl1pPr>
          </a:lstStyle>
          <a:p>
            <a:r>
              <a:rPr lang="de-DE"/>
              <a:t>„Zitat“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1F30E42B-4757-47CD-8114-9C88FB35A22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224337" y="4293096"/>
            <a:ext cx="3743325" cy="575767"/>
          </a:xfrm>
        </p:spPr>
        <p:txBody>
          <a:bodyPr/>
          <a:lstStyle>
            <a:lvl1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0"/>
            </a:lvl1pPr>
            <a:lvl2pPr marL="0" indent="0" algn="ctr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chemeClr val="accent1"/>
                </a:solidFill>
              </a:defRPr>
            </a:lvl2pPr>
            <a:lvl3pPr marL="0" indent="0" algn="ctr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chemeClr val="accent1"/>
                </a:solidFill>
              </a:defRPr>
            </a:lvl3pPr>
            <a:lvl4pPr marL="0" indent="0" algn="ctr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accent1"/>
                </a:solidFill>
              </a:defRPr>
            </a:lvl4pPr>
            <a:lvl5pPr marL="0" indent="0" algn="ctr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accent1"/>
                </a:solidFill>
              </a:defRPr>
            </a:lvl5pPr>
            <a:lvl6pPr marL="0" indent="0" algn="ctr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accent1"/>
                </a:solidFill>
              </a:defRPr>
            </a:lvl6pPr>
            <a:lvl7pPr marL="0" indent="0" algn="ctr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accent1"/>
                </a:solidFill>
              </a:defRPr>
            </a:lvl7pPr>
            <a:lvl8pPr marL="0" indent="0" algn="ctr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accent1"/>
                </a:solidFill>
              </a:defRPr>
            </a:lvl8pPr>
            <a:lvl9pPr marL="0" indent="0" algn="ctr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de-DE" noProof="0" dirty="0"/>
              <a:t>Vorname Nachname</a:t>
            </a:r>
          </a:p>
          <a:p>
            <a:pPr lvl="0"/>
            <a:r>
              <a:rPr lang="de-DE" noProof="0" dirty="0"/>
              <a:t>Position, Beschreibung, …</a:t>
            </a:r>
          </a:p>
        </p:txBody>
      </p:sp>
      <p:sp>
        <p:nvSpPr>
          <p:cNvPr id="11" name="Google Shape;192;p37">
            <a:extLst>
              <a:ext uri="{FF2B5EF4-FFF2-40B4-BE49-F238E27FC236}">
                <a16:creationId xmlns:a16="http://schemas.microsoft.com/office/drawing/2014/main" id="{52B73378-B483-470B-86EB-BAFC200D6F4B}"/>
              </a:ext>
            </a:extLst>
          </p:cNvPr>
          <p:cNvSpPr/>
          <p:nvPr userDrawn="1"/>
        </p:nvSpPr>
        <p:spPr bwMode="black">
          <a:xfrm>
            <a:off x="5232000" y="3717032"/>
            <a:ext cx="1731102" cy="142423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>
            <a:noFill/>
          </a:ln>
        </p:spPr>
        <p:txBody>
          <a:bodyPr spcFirstLastPara="1" wrap="square" lIns="91450" tIns="45700" rIns="91450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de-DE" sz="1800" noProof="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" name="Bildplatzhalter 8">
            <a:extLst>
              <a:ext uri="{FF2B5EF4-FFF2-40B4-BE49-F238E27FC236}">
                <a16:creationId xmlns:a16="http://schemas.microsoft.com/office/drawing/2014/main" id="{919CABA2-15F9-4631-B1E7-4880409683BF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 bwMode="gray">
          <a:xfrm>
            <a:off x="5521289" y="4869160"/>
            <a:ext cx="1152525" cy="1150937"/>
          </a:xfrm>
          <a:prstGeom prst="ellipse">
            <a:avLst/>
          </a:prstGeom>
          <a:noFill/>
        </p:spPr>
        <p:txBody>
          <a:bodyPr lIns="0" tIns="0" rIns="324000" bIns="576000" anchor="b"/>
          <a:lstStyle>
            <a:lvl1pPr marL="0" indent="0" algn="r">
              <a:buNone/>
              <a:defRPr sz="800">
                <a:solidFill>
                  <a:schemeClr val="bg1"/>
                </a:solidFill>
              </a:defRPr>
            </a:lvl1pPr>
          </a:lstStyle>
          <a:p>
            <a:r>
              <a:rPr lang="de-DE" noProof="0"/>
              <a:t> 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0776E2B5-E827-4327-8AF9-3BD1D72F0E92}"/>
              </a:ext>
            </a:extLst>
          </p:cNvPr>
          <p:cNvSpPr>
            <a:spLocks noGrp="1"/>
          </p:cNvSpPr>
          <p:nvPr>
            <p:ph type="dt" sz="half" idx="20"/>
          </p:nvPr>
        </p:nvSpPr>
        <p:spPr bwMode="gray"/>
        <p:txBody>
          <a:bodyPr/>
          <a:lstStyle/>
          <a:p>
            <a:fld id="{EC3E3980-DD0C-426F-ABE6-CD2588A571F5}" type="datetime1">
              <a:rPr lang="de-DE" noProof="0" smtClean="0"/>
              <a:t>22.10.2023</a:t>
            </a:fld>
            <a:endParaRPr lang="de-DE" sz="800" noProof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7D1343C8-5C6F-4A2A-91D5-C3CA7B257661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 bwMode="gray"/>
        <p:txBody>
          <a:bodyPr/>
          <a:lstStyle/>
          <a:p>
            <a:pPr algn="ctr"/>
            <a:r>
              <a:rPr lang="de-DE" noProof="0"/>
              <a:t>Commerzbank AG, Max Mustermann, GM-C Brand Management 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C606464E-8FE7-4C45-8743-A0134C1832EE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 bwMode="gray"/>
        <p:txBody>
          <a:bodyPr/>
          <a:lstStyle/>
          <a:p>
            <a:fld id="{CAEFDB47-5D1C-45E7-8BD0-EF74349B00F7}" type="slidenum">
              <a:rPr lang="de-DE" noProof="0" smtClean="0"/>
              <a:pPr/>
              <a:t>‹#›</a:t>
            </a:fld>
            <a:endParaRPr lang="de-DE" b="1" noProof="0"/>
          </a:p>
        </p:txBody>
      </p:sp>
    </p:spTree>
    <p:extLst>
      <p:ext uri="{BB962C8B-B14F-4D97-AF65-F5344CB8AC3E}">
        <p14:creationId xmlns:p14="http://schemas.microsoft.com/office/powerpoint/2010/main" val="358060985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with pictur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8">
            <a:extLst>
              <a:ext uri="{FF2B5EF4-FFF2-40B4-BE49-F238E27FC236}">
                <a16:creationId xmlns:a16="http://schemas.microsoft.com/office/drawing/2014/main" id="{6493CB55-B2EA-48C1-B7E1-DDEC6D84F98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0" y="0"/>
            <a:ext cx="12192000" cy="6858000"/>
          </a:xfrm>
          <a:solidFill>
            <a:schemeClr val="accent1"/>
          </a:solidFill>
        </p:spPr>
        <p:txBody>
          <a:bodyPr lIns="0" tIns="0" rIns="0" bIns="576000" anchor="b"/>
          <a:lstStyle>
            <a:lvl1pPr marL="0" indent="0" algn="ctr">
              <a:buNone/>
              <a:defRPr sz="800">
                <a:solidFill>
                  <a:schemeClr val="accent6"/>
                </a:solidFill>
              </a:defRPr>
            </a:lvl1pPr>
          </a:lstStyle>
          <a:p>
            <a:r>
              <a:rPr lang="de-DE" noProof="0" dirty="0"/>
              <a:t>Fügen Sie ein Bild über Klicken auf das Symbol ein. </a:t>
            </a: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Alternativ kopieren Sie ein Bild in die Zwischenablage, </a:t>
            </a:r>
            <a:br>
              <a:rPr lang="de-DE" noProof="0" dirty="0"/>
            </a:br>
            <a:r>
              <a:rPr lang="de-DE" noProof="0" dirty="0"/>
              <a:t>wählen Sie den Platzhalter an und klicken Sie einfügen. </a:t>
            </a: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Achten Sie darauf, dass das Logo im Vordergrund ist und </a:t>
            </a:r>
            <a:br>
              <a:rPr lang="de-DE" noProof="0" dirty="0"/>
            </a:br>
            <a:r>
              <a:rPr lang="de-DE" noProof="0" dirty="0"/>
              <a:t>wählen Sie bei hellen Bildern Petrol als Logofarbe.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1F30E42B-4757-47CD-8114-9C88FB35A22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224339" y="4293096"/>
            <a:ext cx="3743324" cy="575767"/>
          </a:xfrm>
        </p:spPr>
        <p:txBody>
          <a:bodyPr/>
          <a:lstStyle>
            <a:lvl1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0">
                <a:solidFill>
                  <a:schemeClr val="bg1"/>
                </a:solidFill>
              </a:defRPr>
            </a:lvl1pPr>
            <a:lvl2pPr marL="0" indent="0" algn="ctr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chemeClr val="bg1"/>
                </a:solidFill>
              </a:defRPr>
            </a:lvl2pPr>
            <a:lvl3pPr marL="0" indent="0" algn="ctr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chemeClr val="bg1"/>
                </a:solidFill>
              </a:defRPr>
            </a:lvl3pPr>
            <a:lvl4pPr marL="0" indent="0" algn="ctr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</a:defRPr>
            </a:lvl4pPr>
            <a:lvl5pPr marL="0" indent="0" algn="ctr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</a:defRPr>
            </a:lvl5pPr>
            <a:lvl6pPr marL="0" indent="0" algn="ctr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</a:defRPr>
            </a:lvl6pPr>
            <a:lvl7pPr marL="0" indent="0" algn="ctr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</a:defRPr>
            </a:lvl7pPr>
            <a:lvl8pPr marL="0" indent="0" algn="ctr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</a:defRPr>
            </a:lvl8pPr>
            <a:lvl9pPr marL="0" indent="0" algn="ctr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/>
              <a:t>Vorname Nachname</a:t>
            </a:r>
          </a:p>
          <a:p>
            <a:pPr lvl="0"/>
            <a:r>
              <a:rPr lang="de-DE" noProof="0"/>
              <a:t>Position, Beschreibung, …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0776E2B5-E827-4327-8AF9-3BD1D72F0E92}"/>
              </a:ext>
            </a:extLst>
          </p:cNvPr>
          <p:cNvSpPr>
            <a:spLocks noGrp="1"/>
          </p:cNvSpPr>
          <p:nvPr>
            <p:ph type="dt" sz="half" idx="20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C3E3980-DD0C-426F-ABE6-CD2588A571F5}" type="datetime1">
              <a:rPr lang="de-DE" noProof="0" smtClean="0"/>
              <a:pPr/>
              <a:t>22.10.2023</a:t>
            </a:fld>
            <a:endParaRPr lang="de-DE" noProof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7D1343C8-5C6F-4A2A-91D5-C3CA7B257661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/>
              <a:t>Commerzbank AG, Max Mustermann, GM-C Brand Management 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C606464E-8FE7-4C45-8743-A0134C1832EE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AEFDB47-5D1C-45E7-8BD0-EF74349B00F7}" type="slidenum">
              <a:rPr lang="de-DE" noProof="0" smtClean="0"/>
              <a:pPr/>
              <a:t>‹#›</a:t>
            </a:fld>
            <a:endParaRPr lang="de-DE" b="1" noProof="0"/>
          </a:p>
        </p:txBody>
      </p:sp>
      <p:sp>
        <p:nvSpPr>
          <p:cNvPr id="10" name="SmartArt-Platzhalter 11">
            <a:extLst>
              <a:ext uri="{FF2B5EF4-FFF2-40B4-BE49-F238E27FC236}">
                <a16:creationId xmlns:a16="http://schemas.microsoft.com/office/drawing/2014/main" id="{10D8EF99-7F22-4D85-997D-CBFB7B4C7E48}"/>
              </a:ext>
            </a:extLst>
          </p:cNvPr>
          <p:cNvSpPr>
            <a:spLocks noGrp="1"/>
          </p:cNvSpPr>
          <p:nvPr>
            <p:ph type="dgm" sz="quarter" idx="15"/>
          </p:nvPr>
        </p:nvSpPr>
        <p:spPr bwMode="gray">
          <a:xfrm>
            <a:off x="11522271" y="260351"/>
            <a:ext cx="332854" cy="288924"/>
          </a:xfrm>
          <a:custGeom>
            <a:avLst/>
            <a:gdLst>
              <a:gd name="connsiteX0" fmla="*/ 26189 w 332854"/>
              <a:gd name="connsiteY0" fmla="*/ 199375 h 288924"/>
              <a:gd name="connsiteX1" fmla="*/ 38755 w 332854"/>
              <a:gd name="connsiteY1" fmla="*/ 203399 h 288924"/>
              <a:gd name="connsiteX2" fmla="*/ 60872 w 332854"/>
              <a:gd name="connsiteY2" fmla="*/ 208430 h 288924"/>
              <a:gd name="connsiteX3" fmla="*/ 89523 w 332854"/>
              <a:gd name="connsiteY3" fmla="*/ 210442 h 288924"/>
              <a:gd name="connsiteX4" fmla="*/ 166428 w 332854"/>
              <a:gd name="connsiteY4" fmla="*/ 210442 h 288924"/>
              <a:gd name="connsiteX5" fmla="*/ 243335 w 332854"/>
              <a:gd name="connsiteY5" fmla="*/ 210442 h 288924"/>
              <a:gd name="connsiteX6" fmla="*/ 255398 w 332854"/>
              <a:gd name="connsiteY6" fmla="*/ 210442 h 288924"/>
              <a:gd name="connsiteX7" fmla="*/ 260927 w 332854"/>
              <a:gd name="connsiteY7" fmla="*/ 226542 h 288924"/>
              <a:gd name="connsiteX8" fmla="*/ 265953 w 332854"/>
              <a:gd name="connsiteY8" fmla="*/ 260752 h 288924"/>
              <a:gd name="connsiteX9" fmla="*/ 258916 w 332854"/>
              <a:gd name="connsiteY9" fmla="*/ 282384 h 288924"/>
              <a:gd name="connsiteX10" fmla="*/ 254895 w 332854"/>
              <a:gd name="connsiteY10" fmla="*/ 288924 h 288924"/>
              <a:gd name="connsiteX11" fmla="*/ 253513 w 332854"/>
              <a:gd name="connsiteY11" fmla="*/ 288924 h 288924"/>
              <a:gd name="connsiteX12" fmla="*/ 243837 w 332854"/>
              <a:gd name="connsiteY12" fmla="*/ 288924 h 288924"/>
              <a:gd name="connsiteX13" fmla="*/ 217573 w 332854"/>
              <a:gd name="connsiteY13" fmla="*/ 288924 h 288924"/>
              <a:gd name="connsiteX14" fmla="*/ 166428 w 332854"/>
              <a:gd name="connsiteY14" fmla="*/ 288924 h 288924"/>
              <a:gd name="connsiteX15" fmla="*/ 165046 w 332854"/>
              <a:gd name="connsiteY15" fmla="*/ 288924 h 288924"/>
              <a:gd name="connsiteX16" fmla="*/ 155370 w 332854"/>
              <a:gd name="connsiteY16" fmla="*/ 288924 h 288924"/>
              <a:gd name="connsiteX17" fmla="*/ 129106 w 332854"/>
              <a:gd name="connsiteY17" fmla="*/ 288924 h 288924"/>
              <a:gd name="connsiteX18" fmla="*/ 77962 w 332854"/>
              <a:gd name="connsiteY18" fmla="*/ 288924 h 288924"/>
              <a:gd name="connsiteX19" fmla="*/ 26189 w 332854"/>
              <a:gd name="connsiteY19" fmla="*/ 199375 h 288924"/>
              <a:gd name="connsiteX20" fmla="*/ 236869 w 332854"/>
              <a:gd name="connsiteY20" fmla="*/ 0 h 288924"/>
              <a:gd name="connsiteX21" fmla="*/ 237811 w 332854"/>
              <a:gd name="connsiteY21" fmla="*/ 0 h 288924"/>
              <a:gd name="connsiteX22" fmla="*/ 244408 w 332854"/>
              <a:gd name="connsiteY22" fmla="*/ 0 h 288924"/>
              <a:gd name="connsiteX23" fmla="*/ 332854 w 332854"/>
              <a:gd name="connsiteY23" fmla="*/ 153506 h 288924"/>
              <a:gd name="connsiteX24" fmla="*/ 281595 w 332854"/>
              <a:gd name="connsiteY24" fmla="*/ 243093 h 288924"/>
              <a:gd name="connsiteX25" fmla="*/ 279082 w 332854"/>
              <a:gd name="connsiteY25" fmla="*/ 230008 h 288924"/>
              <a:gd name="connsiteX26" fmla="*/ 272047 w 332854"/>
              <a:gd name="connsiteY26" fmla="*/ 208366 h 288924"/>
              <a:gd name="connsiteX27" fmla="*/ 259483 w 332854"/>
              <a:gd name="connsiteY27" fmla="*/ 182194 h 288924"/>
              <a:gd name="connsiteX28" fmla="*/ 221290 w 332854"/>
              <a:gd name="connsiteY28" fmla="*/ 115759 h 288924"/>
              <a:gd name="connsiteX29" fmla="*/ 182595 w 332854"/>
              <a:gd name="connsiteY29" fmla="*/ 49323 h 288924"/>
              <a:gd name="connsiteX30" fmla="*/ 176565 w 332854"/>
              <a:gd name="connsiteY30" fmla="*/ 38754 h 288924"/>
              <a:gd name="connsiteX31" fmla="*/ 187620 w 332854"/>
              <a:gd name="connsiteY31" fmla="*/ 25668 h 288924"/>
              <a:gd name="connsiteX32" fmla="*/ 214758 w 332854"/>
              <a:gd name="connsiteY32" fmla="*/ 4530 h 288924"/>
              <a:gd name="connsiteX33" fmla="*/ 236869 w 332854"/>
              <a:gd name="connsiteY33" fmla="*/ 0 h 288924"/>
              <a:gd name="connsiteX34" fmla="*/ 88490 w 332854"/>
              <a:gd name="connsiteY34" fmla="*/ 0 h 288924"/>
              <a:gd name="connsiteX35" fmla="*/ 90100 w 332854"/>
              <a:gd name="connsiteY35" fmla="*/ 0 h 288924"/>
              <a:gd name="connsiteX36" fmla="*/ 101374 w 332854"/>
              <a:gd name="connsiteY36" fmla="*/ 0 h 288924"/>
              <a:gd name="connsiteX37" fmla="*/ 131973 w 332854"/>
              <a:gd name="connsiteY37" fmla="*/ 0 h 288924"/>
              <a:gd name="connsiteX38" fmla="*/ 157539 w 332854"/>
              <a:gd name="connsiteY38" fmla="*/ 0 h 288924"/>
              <a:gd name="connsiteX39" fmla="*/ 191560 w 332854"/>
              <a:gd name="connsiteY39" fmla="*/ 0 h 288924"/>
              <a:gd name="connsiteX40" fmla="*/ 181504 w 332854"/>
              <a:gd name="connsiteY40" fmla="*/ 9059 h 288924"/>
              <a:gd name="connsiteX41" fmla="*/ 166421 w 332854"/>
              <a:gd name="connsiteY41" fmla="*/ 25666 h 288924"/>
              <a:gd name="connsiteX42" fmla="*/ 150332 w 332854"/>
              <a:gd name="connsiteY42" fmla="*/ 49319 h 288924"/>
              <a:gd name="connsiteX43" fmla="*/ 111617 w 332854"/>
              <a:gd name="connsiteY43" fmla="*/ 115748 h 288924"/>
              <a:gd name="connsiteX44" fmla="*/ 72903 w 332854"/>
              <a:gd name="connsiteY44" fmla="*/ 182178 h 288924"/>
              <a:gd name="connsiteX45" fmla="*/ 67373 w 332854"/>
              <a:gd name="connsiteY45" fmla="*/ 193250 h 288924"/>
              <a:gd name="connsiteX46" fmla="*/ 50278 w 332854"/>
              <a:gd name="connsiteY46" fmla="*/ 189727 h 288924"/>
              <a:gd name="connsiteX47" fmla="*/ 18603 w 332854"/>
              <a:gd name="connsiteY47" fmla="*/ 176643 h 288924"/>
              <a:gd name="connsiteX48" fmla="*/ 3520 w 332854"/>
              <a:gd name="connsiteY48" fmla="*/ 160035 h 288924"/>
              <a:gd name="connsiteX49" fmla="*/ 0 w 332854"/>
              <a:gd name="connsiteY49" fmla="*/ 153493 h 288924"/>
              <a:gd name="connsiteX50" fmla="*/ 2514 w 332854"/>
              <a:gd name="connsiteY50" fmla="*/ 148963 h 288924"/>
              <a:gd name="connsiteX51" fmla="*/ 88490 w 332854"/>
              <a:gd name="connsiteY51" fmla="*/ 0 h 2889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</a:cxnLst>
            <a:rect l="l" t="t" r="r" b="b"/>
            <a:pathLst>
              <a:path w="332854" h="288924">
                <a:moveTo>
                  <a:pt x="26189" y="199375"/>
                </a:moveTo>
                <a:cubicBezTo>
                  <a:pt x="29708" y="200884"/>
                  <a:pt x="34232" y="202394"/>
                  <a:pt x="38755" y="203399"/>
                </a:cubicBezTo>
                <a:cubicBezTo>
                  <a:pt x="44787" y="204909"/>
                  <a:pt x="57354" y="207927"/>
                  <a:pt x="60872" y="208430"/>
                </a:cubicBezTo>
                <a:cubicBezTo>
                  <a:pt x="72433" y="210442"/>
                  <a:pt x="82989" y="210442"/>
                  <a:pt x="89523" y="210442"/>
                </a:cubicBezTo>
                <a:cubicBezTo>
                  <a:pt x="89523" y="210442"/>
                  <a:pt x="89523" y="210442"/>
                  <a:pt x="166428" y="210442"/>
                </a:cubicBezTo>
                <a:cubicBezTo>
                  <a:pt x="166428" y="210442"/>
                  <a:pt x="166428" y="210442"/>
                  <a:pt x="243335" y="210442"/>
                </a:cubicBezTo>
                <a:cubicBezTo>
                  <a:pt x="246350" y="210442"/>
                  <a:pt x="250371" y="210442"/>
                  <a:pt x="255398" y="210442"/>
                </a:cubicBezTo>
                <a:cubicBezTo>
                  <a:pt x="257408" y="216480"/>
                  <a:pt x="260927" y="226038"/>
                  <a:pt x="260927" y="226542"/>
                </a:cubicBezTo>
                <a:cubicBezTo>
                  <a:pt x="265451" y="238616"/>
                  <a:pt x="266959" y="250186"/>
                  <a:pt x="265953" y="260752"/>
                </a:cubicBezTo>
                <a:cubicBezTo>
                  <a:pt x="264446" y="270814"/>
                  <a:pt x="260927" y="277857"/>
                  <a:pt x="258916" y="282384"/>
                </a:cubicBezTo>
                <a:lnTo>
                  <a:pt x="254895" y="288924"/>
                </a:lnTo>
                <a:lnTo>
                  <a:pt x="253513" y="288924"/>
                </a:lnTo>
                <a:lnTo>
                  <a:pt x="243837" y="288924"/>
                </a:lnTo>
                <a:lnTo>
                  <a:pt x="217573" y="288924"/>
                </a:lnTo>
                <a:lnTo>
                  <a:pt x="166428" y="288924"/>
                </a:lnTo>
                <a:lnTo>
                  <a:pt x="165046" y="288924"/>
                </a:lnTo>
                <a:lnTo>
                  <a:pt x="155370" y="288924"/>
                </a:lnTo>
                <a:lnTo>
                  <a:pt x="129106" y="288924"/>
                </a:lnTo>
                <a:lnTo>
                  <a:pt x="77962" y="288924"/>
                </a:lnTo>
                <a:cubicBezTo>
                  <a:pt x="77962" y="288924"/>
                  <a:pt x="77962" y="288924"/>
                  <a:pt x="26189" y="199375"/>
                </a:cubicBezTo>
                <a:close/>
                <a:moveTo>
                  <a:pt x="236869" y="0"/>
                </a:moveTo>
                <a:lnTo>
                  <a:pt x="237811" y="0"/>
                </a:lnTo>
                <a:lnTo>
                  <a:pt x="244408" y="0"/>
                </a:lnTo>
                <a:cubicBezTo>
                  <a:pt x="244408" y="0"/>
                  <a:pt x="244408" y="0"/>
                  <a:pt x="332854" y="153506"/>
                </a:cubicBezTo>
                <a:cubicBezTo>
                  <a:pt x="332854" y="153506"/>
                  <a:pt x="332854" y="153506"/>
                  <a:pt x="281595" y="243093"/>
                </a:cubicBezTo>
                <a:cubicBezTo>
                  <a:pt x="280590" y="239066"/>
                  <a:pt x="280088" y="234536"/>
                  <a:pt x="279082" y="230008"/>
                </a:cubicBezTo>
                <a:cubicBezTo>
                  <a:pt x="277072" y="223968"/>
                  <a:pt x="273053" y="211385"/>
                  <a:pt x="272047" y="208366"/>
                </a:cubicBezTo>
                <a:cubicBezTo>
                  <a:pt x="268026" y="197293"/>
                  <a:pt x="262499" y="188234"/>
                  <a:pt x="259483" y="182194"/>
                </a:cubicBezTo>
                <a:cubicBezTo>
                  <a:pt x="246418" y="159546"/>
                  <a:pt x="221290" y="115759"/>
                  <a:pt x="221290" y="115759"/>
                </a:cubicBezTo>
                <a:cubicBezTo>
                  <a:pt x="221290" y="115759"/>
                  <a:pt x="195661" y="71972"/>
                  <a:pt x="182595" y="49323"/>
                </a:cubicBezTo>
                <a:cubicBezTo>
                  <a:pt x="181088" y="46304"/>
                  <a:pt x="179078" y="42780"/>
                  <a:pt x="176565" y="38754"/>
                </a:cubicBezTo>
                <a:cubicBezTo>
                  <a:pt x="180585" y="33722"/>
                  <a:pt x="187118" y="26675"/>
                  <a:pt x="187620" y="25668"/>
                </a:cubicBezTo>
                <a:cubicBezTo>
                  <a:pt x="195661" y="16105"/>
                  <a:pt x="205209" y="9060"/>
                  <a:pt x="214758" y="4530"/>
                </a:cubicBezTo>
                <a:cubicBezTo>
                  <a:pt x="223804" y="1007"/>
                  <a:pt x="231844" y="0"/>
                  <a:pt x="236869" y="0"/>
                </a:cubicBezTo>
                <a:close/>
                <a:moveTo>
                  <a:pt x="88490" y="0"/>
                </a:moveTo>
                <a:lnTo>
                  <a:pt x="90100" y="0"/>
                </a:lnTo>
                <a:lnTo>
                  <a:pt x="101374" y="0"/>
                </a:lnTo>
                <a:lnTo>
                  <a:pt x="131973" y="0"/>
                </a:lnTo>
                <a:lnTo>
                  <a:pt x="157539" y="0"/>
                </a:lnTo>
                <a:lnTo>
                  <a:pt x="191560" y="0"/>
                </a:lnTo>
                <a:cubicBezTo>
                  <a:pt x="188040" y="2517"/>
                  <a:pt x="185024" y="5535"/>
                  <a:pt x="181504" y="9059"/>
                </a:cubicBezTo>
                <a:cubicBezTo>
                  <a:pt x="176980" y="13084"/>
                  <a:pt x="168934" y="22646"/>
                  <a:pt x="166421" y="25666"/>
                </a:cubicBezTo>
                <a:cubicBezTo>
                  <a:pt x="158879" y="34725"/>
                  <a:pt x="153349" y="43280"/>
                  <a:pt x="150332" y="49319"/>
                </a:cubicBezTo>
                <a:cubicBezTo>
                  <a:pt x="136756" y="71965"/>
                  <a:pt x="111617" y="115748"/>
                  <a:pt x="111617" y="115748"/>
                </a:cubicBezTo>
                <a:cubicBezTo>
                  <a:pt x="111617" y="115748"/>
                  <a:pt x="86479" y="159532"/>
                  <a:pt x="72903" y="182178"/>
                </a:cubicBezTo>
                <a:cubicBezTo>
                  <a:pt x="71395" y="185198"/>
                  <a:pt x="69886" y="188721"/>
                  <a:pt x="67373" y="193250"/>
                </a:cubicBezTo>
                <a:cubicBezTo>
                  <a:pt x="60837" y="191740"/>
                  <a:pt x="51284" y="190230"/>
                  <a:pt x="50278" y="189727"/>
                </a:cubicBezTo>
                <a:cubicBezTo>
                  <a:pt x="37709" y="187715"/>
                  <a:pt x="27150" y="183185"/>
                  <a:pt x="18603" y="176643"/>
                </a:cubicBezTo>
                <a:cubicBezTo>
                  <a:pt x="10558" y="170604"/>
                  <a:pt x="6033" y="164062"/>
                  <a:pt x="3520" y="160035"/>
                </a:cubicBezTo>
                <a:cubicBezTo>
                  <a:pt x="3520" y="160035"/>
                  <a:pt x="3520" y="160035"/>
                  <a:pt x="0" y="153493"/>
                </a:cubicBezTo>
                <a:cubicBezTo>
                  <a:pt x="0" y="153493"/>
                  <a:pt x="0" y="153493"/>
                  <a:pt x="2514" y="148963"/>
                </a:cubicBezTo>
                <a:cubicBezTo>
                  <a:pt x="2514" y="148963"/>
                  <a:pt x="2514" y="148963"/>
                  <a:pt x="88490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r>
              <a:rPr lang="en-US" noProof="0"/>
              <a:t>Click icon to add SmartArt graphic</a:t>
            </a:r>
            <a:endParaRPr lang="de-DE" noProof="0" dirty="0"/>
          </a:p>
        </p:txBody>
      </p:sp>
      <p:sp>
        <p:nvSpPr>
          <p:cNvPr id="11" name="Titel 3">
            <a:extLst>
              <a:ext uri="{FF2B5EF4-FFF2-40B4-BE49-F238E27FC236}">
                <a16:creationId xmlns:a16="http://schemas.microsoft.com/office/drawing/2014/main" id="{2DC04B09-674F-42AE-99EC-BAFCE0C9A5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36551" y="-1"/>
            <a:ext cx="11518898" cy="3428999"/>
          </a:xfrm>
        </p:spPr>
        <p:txBody>
          <a:bodyPr tIns="360000" rIns="0" anchor="b"/>
          <a:lstStyle>
            <a:lvl1pPr algn="ctr">
              <a:defRPr sz="4800">
                <a:solidFill>
                  <a:schemeClr val="bg1"/>
                </a:solidFill>
              </a:defRPr>
            </a:lvl1pPr>
          </a:lstStyle>
          <a:p>
            <a:r>
              <a:rPr lang="de-DE"/>
              <a:t>„Zitat“</a:t>
            </a:r>
          </a:p>
        </p:txBody>
      </p:sp>
      <p:sp>
        <p:nvSpPr>
          <p:cNvPr id="16" name="SmartArt-Platzhalter 4">
            <a:extLst>
              <a:ext uri="{FF2B5EF4-FFF2-40B4-BE49-F238E27FC236}">
                <a16:creationId xmlns:a16="http://schemas.microsoft.com/office/drawing/2014/main" id="{1B1F15C5-F637-A0C6-CF75-32733FFE911D}"/>
              </a:ext>
            </a:extLst>
          </p:cNvPr>
          <p:cNvSpPr>
            <a:spLocks noGrp="1"/>
          </p:cNvSpPr>
          <p:nvPr>
            <p:ph type="dgm" sz="quarter" idx="23" hasCustomPrompt="1"/>
          </p:nvPr>
        </p:nvSpPr>
        <p:spPr bwMode="gray">
          <a:xfrm>
            <a:off x="5232001" y="3717032"/>
            <a:ext cx="1731102" cy="142423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de-DE" noProof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92774726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oteboo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>
            <a:extLst>
              <a:ext uri="{FF2B5EF4-FFF2-40B4-BE49-F238E27FC236}">
                <a16:creationId xmlns:a16="http://schemas.microsoft.com/office/drawing/2014/main" id="{A1D18045-8E68-46CA-83F0-1F20C5F8A4B4}"/>
              </a:ext>
            </a:extLst>
          </p:cNvPr>
          <p:cNvSpPr/>
          <p:nvPr userDrawn="1"/>
        </p:nvSpPr>
        <p:spPr bwMode="white">
          <a:xfrm>
            <a:off x="8112125" y="0"/>
            <a:ext cx="4079874" cy="645318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sz="1200" b="1"/>
          </a:p>
        </p:txBody>
      </p:sp>
      <p:pic>
        <p:nvPicPr>
          <p:cNvPr id="16" name="Grafik 15" descr="Ein Bild, das Text, Anzeige, Nachthimmel enthält.&#10;&#10;Automatisch generierte Beschreibung">
            <a:extLst>
              <a:ext uri="{FF2B5EF4-FFF2-40B4-BE49-F238E27FC236}">
                <a16:creationId xmlns:a16="http://schemas.microsoft.com/office/drawing/2014/main" id="{50052273-6F2C-46C2-A927-8BBBEF5783A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66725" y="1410971"/>
            <a:ext cx="7686480" cy="4385024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9631D01A-40CA-4B56-9A6A-2CCA5614247A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336550" y="0"/>
            <a:ext cx="7631114" cy="1123950"/>
          </a:xfrm>
        </p:spPr>
        <p:txBody>
          <a:bodyPr rIns="0"/>
          <a:lstStyle/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EC3B4A5E-48C8-4076-ADCC-30B7DD183BB5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EBAA2246-6553-4284-BA43-14686F10B0C6}" type="datetime1">
              <a:rPr lang="de-DE" smtClean="0"/>
              <a:t>22.10.2023</a:t>
            </a:fld>
            <a:endParaRPr lang="de-DE" sz="80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53F68D4-336C-44F9-8F3C-3F833A3CB0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pPr algn="ctr"/>
            <a:r>
              <a:rPr lang="de-DE"/>
              <a:t>Commerzbank AG, Max Mustermann, GM-C Brand Management 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6B524BB-DBA7-4204-85C4-747F2C0EBB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CAEFDB47-5D1C-45E7-8BD0-EF74349B00F7}" type="slidenum">
              <a:rPr lang="de-DE" smtClean="0"/>
              <a:pPr/>
              <a:t>‹#›</a:t>
            </a:fld>
            <a:endParaRPr lang="de-DE" b="0"/>
          </a:p>
        </p:txBody>
      </p:sp>
      <p:sp>
        <p:nvSpPr>
          <p:cNvPr id="17" name="Bildplatzhalter 16">
            <a:extLst>
              <a:ext uri="{FF2B5EF4-FFF2-40B4-BE49-F238E27FC236}">
                <a16:creationId xmlns:a16="http://schemas.microsoft.com/office/drawing/2014/main" id="{83523130-AFA1-42E4-AC66-26873E9A9CFE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5004792" y="1644285"/>
            <a:ext cx="6010349" cy="3735436"/>
          </a:xfrm>
          <a:custGeom>
            <a:avLst/>
            <a:gdLst>
              <a:gd name="connsiteX0" fmla="*/ 0 w 6010349"/>
              <a:gd name="connsiteY0" fmla="*/ 0 h 3735436"/>
              <a:gd name="connsiteX1" fmla="*/ 6010349 w 6010349"/>
              <a:gd name="connsiteY1" fmla="*/ 0 h 3735436"/>
              <a:gd name="connsiteX2" fmla="*/ 6010349 w 6010349"/>
              <a:gd name="connsiteY2" fmla="*/ 3735436 h 3735436"/>
              <a:gd name="connsiteX3" fmla="*/ 0 w 6010349"/>
              <a:gd name="connsiteY3" fmla="*/ 3735436 h 37354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10349" h="3735436">
                <a:moveTo>
                  <a:pt x="0" y="0"/>
                </a:moveTo>
                <a:lnTo>
                  <a:pt x="6010349" y="0"/>
                </a:lnTo>
                <a:lnTo>
                  <a:pt x="6010349" y="3735436"/>
                </a:lnTo>
                <a:lnTo>
                  <a:pt x="0" y="3735436"/>
                </a:lnTo>
                <a:close/>
              </a:path>
            </a:pathLst>
          </a:custGeom>
          <a:noFill/>
        </p:spPr>
        <p:txBody>
          <a:bodyPr wrap="square" lIns="0" tIns="0" rIns="0" bIns="576000" anchor="b">
            <a:noAutofit/>
          </a:bodyPr>
          <a:lstStyle>
            <a:lvl1pPr marL="0" indent="0" algn="ctr">
              <a:buNone/>
              <a:defRPr sz="800">
                <a:solidFill>
                  <a:schemeClr val="accent6"/>
                </a:solidFill>
              </a:defRPr>
            </a:lvl1pPr>
          </a:lstStyle>
          <a:p>
            <a:r>
              <a:rPr lang="de-DE" noProof="0" dirty="0"/>
              <a:t>Fügen Sie ein Bild über Klicken auf das Symbol ein. </a:t>
            </a: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Alternativ kopieren Sie ein Bild in die Zwischenablage, </a:t>
            </a:r>
            <a:br>
              <a:rPr lang="de-DE" noProof="0" dirty="0"/>
            </a:br>
            <a:r>
              <a:rPr lang="de-DE" noProof="0" dirty="0"/>
              <a:t>wählen Sie den Platzhalter an und klicken Sie einfügen. </a:t>
            </a:r>
          </a:p>
        </p:txBody>
      </p:sp>
      <p:sp>
        <p:nvSpPr>
          <p:cNvPr id="13" name="Textplatzhalter 14">
            <a:extLst>
              <a:ext uri="{FF2B5EF4-FFF2-40B4-BE49-F238E27FC236}">
                <a16:creationId xmlns:a16="http://schemas.microsoft.com/office/drawing/2014/main" id="{095A8B34-4A01-456A-B199-E260D416446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>
          <a:xfrm>
            <a:off x="336550" y="1411288"/>
            <a:ext cx="3743326" cy="5041901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de-DE" noProof="0"/>
          </a:p>
        </p:txBody>
      </p:sp>
      <p:sp>
        <p:nvSpPr>
          <p:cNvPr id="11" name="Freihandform: Form 10">
            <a:extLst>
              <a:ext uri="{FF2B5EF4-FFF2-40B4-BE49-F238E27FC236}">
                <a16:creationId xmlns:a16="http://schemas.microsoft.com/office/drawing/2014/main" id="{0D4DC5FD-1DF7-4CE6-8A34-BD27A4D20635}"/>
              </a:ext>
            </a:extLst>
          </p:cNvPr>
          <p:cNvSpPr>
            <a:spLocks/>
          </p:cNvSpPr>
          <p:nvPr userDrawn="1"/>
        </p:nvSpPr>
        <p:spPr bwMode="invGray">
          <a:xfrm>
            <a:off x="11522271" y="260351"/>
            <a:ext cx="332854" cy="288924"/>
          </a:xfrm>
          <a:custGeom>
            <a:avLst/>
            <a:gdLst>
              <a:gd name="connsiteX0" fmla="*/ 22842 w 290316"/>
              <a:gd name="connsiteY0" fmla="*/ 173895 h 252000"/>
              <a:gd name="connsiteX1" fmla="*/ 33802 w 290316"/>
              <a:gd name="connsiteY1" fmla="*/ 177405 h 252000"/>
              <a:gd name="connsiteX2" fmla="*/ 53093 w 290316"/>
              <a:gd name="connsiteY2" fmla="*/ 181793 h 252000"/>
              <a:gd name="connsiteX3" fmla="*/ 78082 w 290316"/>
              <a:gd name="connsiteY3" fmla="*/ 183548 h 252000"/>
              <a:gd name="connsiteX4" fmla="*/ 145159 w 290316"/>
              <a:gd name="connsiteY4" fmla="*/ 183548 h 252000"/>
              <a:gd name="connsiteX5" fmla="*/ 212237 w 290316"/>
              <a:gd name="connsiteY5" fmla="*/ 183548 h 252000"/>
              <a:gd name="connsiteX6" fmla="*/ 222759 w 290316"/>
              <a:gd name="connsiteY6" fmla="*/ 183548 h 252000"/>
              <a:gd name="connsiteX7" fmla="*/ 227581 w 290316"/>
              <a:gd name="connsiteY7" fmla="*/ 197590 h 252000"/>
              <a:gd name="connsiteX8" fmla="*/ 231965 w 290316"/>
              <a:gd name="connsiteY8" fmla="*/ 227428 h 252000"/>
              <a:gd name="connsiteX9" fmla="*/ 225827 w 290316"/>
              <a:gd name="connsiteY9" fmla="*/ 246296 h 252000"/>
              <a:gd name="connsiteX10" fmla="*/ 222320 w 290316"/>
              <a:gd name="connsiteY10" fmla="*/ 252000 h 252000"/>
              <a:gd name="connsiteX11" fmla="*/ 145159 w 290316"/>
              <a:gd name="connsiteY11" fmla="*/ 252000 h 252000"/>
              <a:gd name="connsiteX12" fmla="*/ 67999 w 290316"/>
              <a:gd name="connsiteY12" fmla="*/ 252000 h 252000"/>
              <a:gd name="connsiteX13" fmla="*/ 22842 w 290316"/>
              <a:gd name="connsiteY13" fmla="*/ 173895 h 252000"/>
              <a:gd name="connsiteX14" fmla="*/ 206598 w 290316"/>
              <a:gd name="connsiteY14" fmla="*/ 0 h 252000"/>
              <a:gd name="connsiteX15" fmla="*/ 213173 w 290316"/>
              <a:gd name="connsiteY15" fmla="*/ 0 h 252000"/>
              <a:gd name="connsiteX16" fmla="*/ 290316 w 290316"/>
              <a:gd name="connsiteY16" fmla="*/ 133888 h 252000"/>
              <a:gd name="connsiteX17" fmla="*/ 245608 w 290316"/>
              <a:gd name="connsiteY17" fmla="*/ 212026 h 252000"/>
              <a:gd name="connsiteX18" fmla="*/ 243416 w 290316"/>
              <a:gd name="connsiteY18" fmla="*/ 200613 h 252000"/>
              <a:gd name="connsiteX19" fmla="*/ 237280 w 290316"/>
              <a:gd name="connsiteY19" fmla="*/ 181737 h 252000"/>
              <a:gd name="connsiteX20" fmla="*/ 226322 w 290316"/>
              <a:gd name="connsiteY20" fmla="*/ 158910 h 252000"/>
              <a:gd name="connsiteX21" fmla="*/ 193010 w 290316"/>
              <a:gd name="connsiteY21" fmla="*/ 100965 h 252000"/>
              <a:gd name="connsiteX22" fmla="*/ 159260 w 290316"/>
              <a:gd name="connsiteY22" fmla="*/ 43020 h 252000"/>
              <a:gd name="connsiteX23" fmla="*/ 154000 w 290316"/>
              <a:gd name="connsiteY23" fmla="*/ 33801 h 252000"/>
              <a:gd name="connsiteX24" fmla="*/ 163643 w 290316"/>
              <a:gd name="connsiteY24" fmla="*/ 22388 h 252000"/>
              <a:gd name="connsiteX25" fmla="*/ 187312 w 290316"/>
              <a:gd name="connsiteY25" fmla="*/ 3951 h 252000"/>
              <a:gd name="connsiteX26" fmla="*/ 206598 w 290316"/>
              <a:gd name="connsiteY26" fmla="*/ 0 h 252000"/>
              <a:gd name="connsiteX27" fmla="*/ 77181 w 290316"/>
              <a:gd name="connsiteY27" fmla="*/ 0 h 252000"/>
              <a:gd name="connsiteX28" fmla="*/ 167079 w 290316"/>
              <a:gd name="connsiteY28" fmla="*/ 0 h 252000"/>
              <a:gd name="connsiteX29" fmla="*/ 158308 w 290316"/>
              <a:gd name="connsiteY29" fmla="*/ 7901 h 252000"/>
              <a:gd name="connsiteX30" fmla="*/ 145153 w 290316"/>
              <a:gd name="connsiteY30" fmla="*/ 22386 h 252000"/>
              <a:gd name="connsiteX31" fmla="*/ 131120 w 290316"/>
              <a:gd name="connsiteY31" fmla="*/ 43016 h 252000"/>
              <a:gd name="connsiteX32" fmla="*/ 97353 w 290316"/>
              <a:gd name="connsiteY32" fmla="*/ 100956 h 252000"/>
              <a:gd name="connsiteX33" fmla="*/ 63586 w 290316"/>
              <a:gd name="connsiteY33" fmla="*/ 158896 h 252000"/>
              <a:gd name="connsiteX34" fmla="*/ 58763 w 290316"/>
              <a:gd name="connsiteY34" fmla="*/ 168553 h 252000"/>
              <a:gd name="connsiteX35" fmla="*/ 43853 w 290316"/>
              <a:gd name="connsiteY35" fmla="*/ 165480 h 252000"/>
              <a:gd name="connsiteX36" fmla="*/ 16226 w 290316"/>
              <a:gd name="connsiteY36" fmla="*/ 154068 h 252000"/>
              <a:gd name="connsiteX37" fmla="*/ 3070 w 290316"/>
              <a:gd name="connsiteY37" fmla="*/ 139583 h 252000"/>
              <a:gd name="connsiteX38" fmla="*/ 0 w 290316"/>
              <a:gd name="connsiteY38" fmla="*/ 133877 h 252000"/>
              <a:gd name="connsiteX39" fmla="*/ 2193 w 290316"/>
              <a:gd name="connsiteY39" fmla="*/ 129926 h 252000"/>
              <a:gd name="connsiteX40" fmla="*/ 77181 w 290316"/>
              <a:gd name="connsiteY40" fmla="*/ 0 h 25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290316" h="252000">
                <a:moveTo>
                  <a:pt x="22842" y="173895"/>
                </a:moveTo>
                <a:cubicBezTo>
                  <a:pt x="25911" y="175211"/>
                  <a:pt x="29857" y="176528"/>
                  <a:pt x="33802" y="177405"/>
                </a:cubicBezTo>
                <a:cubicBezTo>
                  <a:pt x="39063" y="178722"/>
                  <a:pt x="50024" y="181354"/>
                  <a:pt x="53093" y="181793"/>
                </a:cubicBezTo>
                <a:cubicBezTo>
                  <a:pt x="63176" y="183548"/>
                  <a:pt x="72383" y="183548"/>
                  <a:pt x="78082" y="183548"/>
                </a:cubicBezTo>
                <a:cubicBezTo>
                  <a:pt x="78082" y="183548"/>
                  <a:pt x="78082" y="183548"/>
                  <a:pt x="145159" y="183548"/>
                </a:cubicBezTo>
                <a:cubicBezTo>
                  <a:pt x="145159" y="183548"/>
                  <a:pt x="145159" y="183548"/>
                  <a:pt x="212237" y="183548"/>
                </a:cubicBezTo>
                <a:cubicBezTo>
                  <a:pt x="214867" y="183548"/>
                  <a:pt x="218374" y="183548"/>
                  <a:pt x="222759" y="183548"/>
                </a:cubicBezTo>
                <a:cubicBezTo>
                  <a:pt x="224512" y="188814"/>
                  <a:pt x="227581" y="197151"/>
                  <a:pt x="227581" y="197590"/>
                </a:cubicBezTo>
                <a:cubicBezTo>
                  <a:pt x="231527" y="208121"/>
                  <a:pt x="232842" y="218213"/>
                  <a:pt x="231965" y="227428"/>
                </a:cubicBezTo>
                <a:cubicBezTo>
                  <a:pt x="230650" y="236204"/>
                  <a:pt x="227581" y="242347"/>
                  <a:pt x="225827" y="246296"/>
                </a:cubicBezTo>
                <a:lnTo>
                  <a:pt x="222320" y="252000"/>
                </a:lnTo>
                <a:cubicBezTo>
                  <a:pt x="222320" y="252000"/>
                  <a:pt x="222320" y="252000"/>
                  <a:pt x="145159" y="252000"/>
                </a:cubicBezTo>
                <a:cubicBezTo>
                  <a:pt x="145159" y="252000"/>
                  <a:pt x="145159" y="252000"/>
                  <a:pt x="67999" y="252000"/>
                </a:cubicBezTo>
                <a:cubicBezTo>
                  <a:pt x="67999" y="252000"/>
                  <a:pt x="67999" y="252000"/>
                  <a:pt x="22842" y="173895"/>
                </a:cubicBezTo>
                <a:close/>
                <a:moveTo>
                  <a:pt x="206598" y="0"/>
                </a:moveTo>
                <a:cubicBezTo>
                  <a:pt x="206598" y="0"/>
                  <a:pt x="206598" y="0"/>
                  <a:pt x="213173" y="0"/>
                </a:cubicBezTo>
                <a:cubicBezTo>
                  <a:pt x="213173" y="0"/>
                  <a:pt x="213173" y="0"/>
                  <a:pt x="290316" y="133888"/>
                </a:cubicBezTo>
                <a:cubicBezTo>
                  <a:pt x="290316" y="133888"/>
                  <a:pt x="290316" y="133888"/>
                  <a:pt x="245608" y="212026"/>
                </a:cubicBezTo>
                <a:cubicBezTo>
                  <a:pt x="244731" y="208514"/>
                  <a:pt x="244293" y="204563"/>
                  <a:pt x="243416" y="200613"/>
                </a:cubicBezTo>
                <a:cubicBezTo>
                  <a:pt x="241663" y="195345"/>
                  <a:pt x="238157" y="184370"/>
                  <a:pt x="237280" y="181737"/>
                </a:cubicBezTo>
                <a:cubicBezTo>
                  <a:pt x="233773" y="172079"/>
                  <a:pt x="228952" y="164178"/>
                  <a:pt x="226322" y="158910"/>
                </a:cubicBezTo>
                <a:cubicBezTo>
                  <a:pt x="214926" y="139156"/>
                  <a:pt x="193010" y="100965"/>
                  <a:pt x="193010" y="100965"/>
                </a:cubicBezTo>
                <a:cubicBezTo>
                  <a:pt x="193010" y="100965"/>
                  <a:pt x="170656" y="62774"/>
                  <a:pt x="159260" y="43020"/>
                </a:cubicBezTo>
                <a:cubicBezTo>
                  <a:pt x="157945" y="40386"/>
                  <a:pt x="156192" y="37313"/>
                  <a:pt x="154000" y="33801"/>
                </a:cubicBezTo>
                <a:cubicBezTo>
                  <a:pt x="157507" y="29412"/>
                  <a:pt x="163205" y="23266"/>
                  <a:pt x="163643" y="22388"/>
                </a:cubicBezTo>
                <a:cubicBezTo>
                  <a:pt x="170656" y="14047"/>
                  <a:pt x="178984" y="7902"/>
                  <a:pt x="187312" y="3951"/>
                </a:cubicBezTo>
                <a:cubicBezTo>
                  <a:pt x="195202" y="878"/>
                  <a:pt x="202215" y="0"/>
                  <a:pt x="206598" y="0"/>
                </a:cubicBezTo>
                <a:close/>
                <a:moveTo>
                  <a:pt x="77181" y="0"/>
                </a:moveTo>
                <a:cubicBezTo>
                  <a:pt x="77181" y="0"/>
                  <a:pt x="77181" y="0"/>
                  <a:pt x="167079" y="0"/>
                </a:cubicBezTo>
                <a:cubicBezTo>
                  <a:pt x="164009" y="2195"/>
                  <a:pt x="161378" y="4828"/>
                  <a:pt x="158308" y="7901"/>
                </a:cubicBezTo>
                <a:cubicBezTo>
                  <a:pt x="154362" y="11412"/>
                  <a:pt x="147345" y="19752"/>
                  <a:pt x="145153" y="22386"/>
                </a:cubicBezTo>
                <a:cubicBezTo>
                  <a:pt x="138575" y="30287"/>
                  <a:pt x="133751" y="37749"/>
                  <a:pt x="131120" y="43016"/>
                </a:cubicBezTo>
                <a:cubicBezTo>
                  <a:pt x="119279" y="62768"/>
                  <a:pt x="97353" y="100956"/>
                  <a:pt x="97353" y="100956"/>
                </a:cubicBezTo>
                <a:cubicBezTo>
                  <a:pt x="97353" y="100956"/>
                  <a:pt x="75427" y="139144"/>
                  <a:pt x="63586" y="158896"/>
                </a:cubicBezTo>
                <a:cubicBezTo>
                  <a:pt x="62271" y="161530"/>
                  <a:pt x="60955" y="164603"/>
                  <a:pt x="58763" y="168553"/>
                </a:cubicBezTo>
                <a:cubicBezTo>
                  <a:pt x="53062" y="167236"/>
                  <a:pt x="44730" y="165919"/>
                  <a:pt x="43853" y="165480"/>
                </a:cubicBezTo>
                <a:cubicBezTo>
                  <a:pt x="32890" y="163725"/>
                  <a:pt x="23680" y="159774"/>
                  <a:pt x="16226" y="154068"/>
                </a:cubicBezTo>
                <a:cubicBezTo>
                  <a:pt x="9209" y="148801"/>
                  <a:pt x="5262" y="143095"/>
                  <a:pt x="3070" y="139583"/>
                </a:cubicBezTo>
                <a:cubicBezTo>
                  <a:pt x="3070" y="139583"/>
                  <a:pt x="3070" y="139583"/>
                  <a:pt x="0" y="133877"/>
                </a:cubicBezTo>
                <a:cubicBezTo>
                  <a:pt x="0" y="133877"/>
                  <a:pt x="0" y="133877"/>
                  <a:pt x="2193" y="129926"/>
                </a:cubicBezTo>
                <a:cubicBezTo>
                  <a:pt x="2193" y="129926"/>
                  <a:pt x="2193" y="129926"/>
                  <a:pt x="77181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2594879480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martph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>
            <a:extLst>
              <a:ext uri="{FF2B5EF4-FFF2-40B4-BE49-F238E27FC236}">
                <a16:creationId xmlns:a16="http://schemas.microsoft.com/office/drawing/2014/main" id="{A1D18045-8E68-46CA-83F0-1F20C5F8A4B4}"/>
              </a:ext>
            </a:extLst>
          </p:cNvPr>
          <p:cNvSpPr/>
          <p:nvPr userDrawn="1"/>
        </p:nvSpPr>
        <p:spPr bwMode="white">
          <a:xfrm>
            <a:off x="8112124" y="0"/>
            <a:ext cx="4079875" cy="645318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sz="1200" b="1" noProof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631D01A-40CA-4B56-9A6A-2CCA5614247A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336550" y="0"/>
            <a:ext cx="7631114" cy="1123950"/>
          </a:xfrm>
        </p:spPr>
        <p:txBody>
          <a:bodyPr rIns="0"/>
          <a:lstStyle/>
          <a:p>
            <a:r>
              <a:rPr lang="en-US" noProof="0"/>
              <a:t>Click to edit Master title style</a:t>
            </a:r>
            <a:endParaRPr lang="de-DE" noProof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EC3B4A5E-48C8-4076-ADCC-30B7DD183BB5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34134789-E442-4249-9B2B-8E4ACAB8707D}" type="datetime1">
              <a:rPr lang="de-DE" noProof="0" smtClean="0"/>
              <a:t>22.10.2023</a:t>
            </a:fld>
            <a:endParaRPr lang="de-DE" sz="800" noProof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53F68D4-336C-44F9-8F3C-3F833A3CB0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pPr algn="ctr"/>
            <a:r>
              <a:rPr lang="de-DE" noProof="0"/>
              <a:t>Commerzbank AG, Max Mustermann, GM-C Brand Management 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6B524BB-DBA7-4204-85C4-747F2C0EBB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CAEFDB47-5D1C-45E7-8BD0-EF74349B00F7}" type="slidenum">
              <a:rPr lang="de-DE" noProof="0" smtClean="0"/>
              <a:pPr/>
              <a:t>‹#›</a:t>
            </a:fld>
            <a:endParaRPr lang="de-DE" b="0" noProof="0"/>
          </a:p>
        </p:txBody>
      </p:sp>
      <p:sp>
        <p:nvSpPr>
          <p:cNvPr id="11" name="Textplatzhalter 14">
            <a:extLst>
              <a:ext uri="{FF2B5EF4-FFF2-40B4-BE49-F238E27FC236}">
                <a16:creationId xmlns:a16="http://schemas.microsoft.com/office/drawing/2014/main" id="{9B47EE3E-3303-4D5D-8EAB-8FF2A3660BD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>
          <a:xfrm>
            <a:off x="336550" y="1411288"/>
            <a:ext cx="5688013" cy="5041901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de-DE" noProof="0"/>
          </a:p>
        </p:txBody>
      </p:sp>
      <p:pic>
        <p:nvPicPr>
          <p:cNvPr id="18" name="Grafik 17" descr="Ein Bild, das Text, Monitor, Screenshot enthält.&#10;&#10;Automatisch generierte Beschreibung">
            <a:extLst>
              <a:ext uri="{FF2B5EF4-FFF2-40B4-BE49-F238E27FC236}">
                <a16:creationId xmlns:a16="http://schemas.microsoft.com/office/drawing/2014/main" id="{13929267-5D41-4C78-AE1E-B162E81154B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960096" y="1411288"/>
            <a:ext cx="2414164" cy="4826047"/>
          </a:xfrm>
          <a:prstGeom prst="rect">
            <a:avLst/>
          </a:prstGeom>
        </p:spPr>
      </p:pic>
      <p:sp>
        <p:nvSpPr>
          <p:cNvPr id="20" name="Bildplatzhalter 19">
            <a:extLst>
              <a:ext uri="{FF2B5EF4-FFF2-40B4-BE49-F238E27FC236}">
                <a16:creationId xmlns:a16="http://schemas.microsoft.com/office/drawing/2014/main" id="{0FC5EB03-C5E0-458E-A02A-D04BFAA7E59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7096540" y="1530375"/>
            <a:ext cx="2117219" cy="4562845"/>
          </a:xfrm>
          <a:custGeom>
            <a:avLst/>
            <a:gdLst>
              <a:gd name="connsiteX0" fmla="*/ 217212 w 2117219"/>
              <a:gd name="connsiteY0" fmla="*/ 0 h 4562845"/>
              <a:gd name="connsiteX1" fmla="*/ 438004 w 2117219"/>
              <a:gd name="connsiteY1" fmla="*/ 0 h 4562845"/>
              <a:gd name="connsiteX2" fmla="*/ 475002 w 2117219"/>
              <a:gd name="connsiteY2" fmla="*/ 36970 h 4562845"/>
              <a:gd name="connsiteX3" fmla="*/ 475002 w 2117219"/>
              <a:gd name="connsiteY3" fmla="*/ 77518 h 4562845"/>
              <a:gd name="connsiteX4" fmla="*/ 577641 w 2117219"/>
              <a:gd name="connsiteY4" fmla="*/ 180081 h 4562845"/>
              <a:gd name="connsiteX5" fmla="*/ 1540772 w 2117219"/>
              <a:gd name="connsiteY5" fmla="*/ 180081 h 4562845"/>
              <a:gd name="connsiteX6" fmla="*/ 1643411 w 2117219"/>
              <a:gd name="connsiteY6" fmla="*/ 77518 h 4562845"/>
              <a:gd name="connsiteX7" fmla="*/ 1643411 w 2117219"/>
              <a:gd name="connsiteY7" fmla="*/ 36970 h 4562845"/>
              <a:gd name="connsiteX8" fmla="*/ 1680408 w 2117219"/>
              <a:gd name="connsiteY8" fmla="*/ 0 h 4562845"/>
              <a:gd name="connsiteX9" fmla="*/ 1900007 w 2117219"/>
              <a:gd name="connsiteY9" fmla="*/ 0 h 4562845"/>
              <a:gd name="connsiteX10" fmla="*/ 2117219 w 2117219"/>
              <a:gd name="connsiteY10" fmla="*/ 217051 h 4562845"/>
              <a:gd name="connsiteX11" fmla="*/ 2117219 w 2117219"/>
              <a:gd name="connsiteY11" fmla="*/ 4345794 h 4562845"/>
              <a:gd name="connsiteX12" fmla="*/ 1900007 w 2117219"/>
              <a:gd name="connsiteY12" fmla="*/ 4562845 h 4562845"/>
              <a:gd name="connsiteX13" fmla="*/ 217212 w 2117219"/>
              <a:gd name="connsiteY13" fmla="*/ 4562845 h 4562845"/>
              <a:gd name="connsiteX14" fmla="*/ 0 w 2117219"/>
              <a:gd name="connsiteY14" fmla="*/ 4345794 h 4562845"/>
              <a:gd name="connsiteX15" fmla="*/ 0 w 2117219"/>
              <a:gd name="connsiteY15" fmla="*/ 217051 h 4562845"/>
              <a:gd name="connsiteX16" fmla="*/ 217212 w 2117219"/>
              <a:gd name="connsiteY16" fmla="*/ 0 h 45628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2117219" h="4562845">
                <a:moveTo>
                  <a:pt x="217212" y="0"/>
                </a:moveTo>
                <a:cubicBezTo>
                  <a:pt x="438004" y="0"/>
                  <a:pt x="438004" y="0"/>
                  <a:pt x="438004" y="0"/>
                </a:cubicBezTo>
                <a:cubicBezTo>
                  <a:pt x="458293" y="0"/>
                  <a:pt x="475002" y="16696"/>
                  <a:pt x="475002" y="36970"/>
                </a:cubicBezTo>
                <a:cubicBezTo>
                  <a:pt x="475002" y="77518"/>
                  <a:pt x="475002" y="77518"/>
                  <a:pt x="475002" y="77518"/>
                </a:cubicBezTo>
                <a:cubicBezTo>
                  <a:pt x="475002" y="134763"/>
                  <a:pt x="520354" y="180081"/>
                  <a:pt x="577641" y="180081"/>
                </a:cubicBezTo>
                <a:cubicBezTo>
                  <a:pt x="1540772" y="180081"/>
                  <a:pt x="1540772" y="180081"/>
                  <a:pt x="1540772" y="180081"/>
                </a:cubicBezTo>
                <a:cubicBezTo>
                  <a:pt x="1596865" y="180081"/>
                  <a:pt x="1643411" y="134763"/>
                  <a:pt x="1643411" y="77518"/>
                </a:cubicBezTo>
                <a:cubicBezTo>
                  <a:pt x="1643411" y="36970"/>
                  <a:pt x="1643411" y="36970"/>
                  <a:pt x="1643411" y="36970"/>
                </a:cubicBezTo>
                <a:cubicBezTo>
                  <a:pt x="1643411" y="16696"/>
                  <a:pt x="1660119" y="0"/>
                  <a:pt x="1680408" y="0"/>
                </a:cubicBezTo>
                <a:cubicBezTo>
                  <a:pt x="1900007" y="0"/>
                  <a:pt x="1900007" y="0"/>
                  <a:pt x="1900007" y="0"/>
                </a:cubicBezTo>
                <a:cubicBezTo>
                  <a:pt x="2020548" y="0"/>
                  <a:pt x="2117219" y="97792"/>
                  <a:pt x="2117219" y="217051"/>
                </a:cubicBezTo>
                <a:lnTo>
                  <a:pt x="2117219" y="4345794"/>
                </a:lnTo>
                <a:cubicBezTo>
                  <a:pt x="2117219" y="4465053"/>
                  <a:pt x="2020548" y="4562845"/>
                  <a:pt x="1900007" y="4562845"/>
                </a:cubicBezTo>
                <a:cubicBezTo>
                  <a:pt x="217212" y="4562845"/>
                  <a:pt x="217212" y="4562845"/>
                  <a:pt x="217212" y="4562845"/>
                </a:cubicBezTo>
                <a:cubicBezTo>
                  <a:pt x="96671" y="4562845"/>
                  <a:pt x="0" y="4466246"/>
                  <a:pt x="0" y="4345794"/>
                </a:cubicBezTo>
                <a:cubicBezTo>
                  <a:pt x="0" y="217051"/>
                  <a:pt x="0" y="217051"/>
                  <a:pt x="0" y="217051"/>
                </a:cubicBezTo>
                <a:cubicBezTo>
                  <a:pt x="0" y="97792"/>
                  <a:pt x="96671" y="0"/>
                  <a:pt x="217212" y="0"/>
                </a:cubicBezTo>
                <a:close/>
              </a:path>
            </a:pathLst>
          </a:custGeom>
          <a:noFill/>
          <a:effectLst>
            <a:innerShdw blurRad="25400">
              <a:prstClr val="black">
                <a:alpha val="42000"/>
              </a:prstClr>
            </a:innerShdw>
          </a:effectLst>
        </p:spPr>
        <p:txBody>
          <a:bodyPr wrap="square" tIns="0" rIns="0" bIns="432000" anchor="b">
            <a:noAutofit/>
          </a:bodyPr>
          <a:lstStyle>
            <a:lvl1pPr marL="0" indent="0" algn="ctr">
              <a:buNone/>
              <a:defRPr sz="800">
                <a:solidFill>
                  <a:schemeClr val="accent6"/>
                </a:solidFill>
              </a:defRPr>
            </a:lvl1pPr>
          </a:lstStyle>
          <a:p>
            <a:r>
              <a:rPr lang="de-DE" noProof="0" dirty="0"/>
              <a:t>Fügen Sie ein Bild über Klicken auf das Symbol ein. </a:t>
            </a: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Alternativ kopieren Sie ein Bild in die Zwischenablage, wählen Sie den Platzhalter an und klicken Sie einfügen. </a:t>
            </a:r>
          </a:p>
        </p:txBody>
      </p:sp>
      <p:sp>
        <p:nvSpPr>
          <p:cNvPr id="12" name="Freihandform: Form 11">
            <a:extLst>
              <a:ext uri="{FF2B5EF4-FFF2-40B4-BE49-F238E27FC236}">
                <a16:creationId xmlns:a16="http://schemas.microsoft.com/office/drawing/2014/main" id="{BA18E35E-1CF0-4694-B887-FBC87659C307}"/>
              </a:ext>
            </a:extLst>
          </p:cNvPr>
          <p:cNvSpPr>
            <a:spLocks/>
          </p:cNvSpPr>
          <p:nvPr userDrawn="1"/>
        </p:nvSpPr>
        <p:spPr bwMode="invGray">
          <a:xfrm>
            <a:off x="11522271" y="260351"/>
            <a:ext cx="332854" cy="288924"/>
          </a:xfrm>
          <a:custGeom>
            <a:avLst/>
            <a:gdLst>
              <a:gd name="connsiteX0" fmla="*/ 22842 w 290316"/>
              <a:gd name="connsiteY0" fmla="*/ 173895 h 252000"/>
              <a:gd name="connsiteX1" fmla="*/ 33802 w 290316"/>
              <a:gd name="connsiteY1" fmla="*/ 177405 h 252000"/>
              <a:gd name="connsiteX2" fmla="*/ 53093 w 290316"/>
              <a:gd name="connsiteY2" fmla="*/ 181793 h 252000"/>
              <a:gd name="connsiteX3" fmla="*/ 78082 w 290316"/>
              <a:gd name="connsiteY3" fmla="*/ 183548 h 252000"/>
              <a:gd name="connsiteX4" fmla="*/ 145159 w 290316"/>
              <a:gd name="connsiteY4" fmla="*/ 183548 h 252000"/>
              <a:gd name="connsiteX5" fmla="*/ 212237 w 290316"/>
              <a:gd name="connsiteY5" fmla="*/ 183548 h 252000"/>
              <a:gd name="connsiteX6" fmla="*/ 222759 w 290316"/>
              <a:gd name="connsiteY6" fmla="*/ 183548 h 252000"/>
              <a:gd name="connsiteX7" fmla="*/ 227581 w 290316"/>
              <a:gd name="connsiteY7" fmla="*/ 197590 h 252000"/>
              <a:gd name="connsiteX8" fmla="*/ 231965 w 290316"/>
              <a:gd name="connsiteY8" fmla="*/ 227428 h 252000"/>
              <a:gd name="connsiteX9" fmla="*/ 225827 w 290316"/>
              <a:gd name="connsiteY9" fmla="*/ 246296 h 252000"/>
              <a:gd name="connsiteX10" fmla="*/ 222320 w 290316"/>
              <a:gd name="connsiteY10" fmla="*/ 252000 h 252000"/>
              <a:gd name="connsiteX11" fmla="*/ 145159 w 290316"/>
              <a:gd name="connsiteY11" fmla="*/ 252000 h 252000"/>
              <a:gd name="connsiteX12" fmla="*/ 67999 w 290316"/>
              <a:gd name="connsiteY12" fmla="*/ 252000 h 252000"/>
              <a:gd name="connsiteX13" fmla="*/ 22842 w 290316"/>
              <a:gd name="connsiteY13" fmla="*/ 173895 h 252000"/>
              <a:gd name="connsiteX14" fmla="*/ 206598 w 290316"/>
              <a:gd name="connsiteY14" fmla="*/ 0 h 252000"/>
              <a:gd name="connsiteX15" fmla="*/ 213173 w 290316"/>
              <a:gd name="connsiteY15" fmla="*/ 0 h 252000"/>
              <a:gd name="connsiteX16" fmla="*/ 290316 w 290316"/>
              <a:gd name="connsiteY16" fmla="*/ 133888 h 252000"/>
              <a:gd name="connsiteX17" fmla="*/ 245608 w 290316"/>
              <a:gd name="connsiteY17" fmla="*/ 212026 h 252000"/>
              <a:gd name="connsiteX18" fmla="*/ 243416 w 290316"/>
              <a:gd name="connsiteY18" fmla="*/ 200613 h 252000"/>
              <a:gd name="connsiteX19" fmla="*/ 237280 w 290316"/>
              <a:gd name="connsiteY19" fmla="*/ 181737 h 252000"/>
              <a:gd name="connsiteX20" fmla="*/ 226322 w 290316"/>
              <a:gd name="connsiteY20" fmla="*/ 158910 h 252000"/>
              <a:gd name="connsiteX21" fmla="*/ 193010 w 290316"/>
              <a:gd name="connsiteY21" fmla="*/ 100965 h 252000"/>
              <a:gd name="connsiteX22" fmla="*/ 159260 w 290316"/>
              <a:gd name="connsiteY22" fmla="*/ 43020 h 252000"/>
              <a:gd name="connsiteX23" fmla="*/ 154000 w 290316"/>
              <a:gd name="connsiteY23" fmla="*/ 33801 h 252000"/>
              <a:gd name="connsiteX24" fmla="*/ 163643 w 290316"/>
              <a:gd name="connsiteY24" fmla="*/ 22388 h 252000"/>
              <a:gd name="connsiteX25" fmla="*/ 187312 w 290316"/>
              <a:gd name="connsiteY25" fmla="*/ 3951 h 252000"/>
              <a:gd name="connsiteX26" fmla="*/ 206598 w 290316"/>
              <a:gd name="connsiteY26" fmla="*/ 0 h 252000"/>
              <a:gd name="connsiteX27" fmla="*/ 77181 w 290316"/>
              <a:gd name="connsiteY27" fmla="*/ 0 h 252000"/>
              <a:gd name="connsiteX28" fmla="*/ 167079 w 290316"/>
              <a:gd name="connsiteY28" fmla="*/ 0 h 252000"/>
              <a:gd name="connsiteX29" fmla="*/ 158308 w 290316"/>
              <a:gd name="connsiteY29" fmla="*/ 7901 h 252000"/>
              <a:gd name="connsiteX30" fmla="*/ 145153 w 290316"/>
              <a:gd name="connsiteY30" fmla="*/ 22386 h 252000"/>
              <a:gd name="connsiteX31" fmla="*/ 131120 w 290316"/>
              <a:gd name="connsiteY31" fmla="*/ 43016 h 252000"/>
              <a:gd name="connsiteX32" fmla="*/ 97353 w 290316"/>
              <a:gd name="connsiteY32" fmla="*/ 100956 h 252000"/>
              <a:gd name="connsiteX33" fmla="*/ 63586 w 290316"/>
              <a:gd name="connsiteY33" fmla="*/ 158896 h 252000"/>
              <a:gd name="connsiteX34" fmla="*/ 58763 w 290316"/>
              <a:gd name="connsiteY34" fmla="*/ 168553 h 252000"/>
              <a:gd name="connsiteX35" fmla="*/ 43853 w 290316"/>
              <a:gd name="connsiteY35" fmla="*/ 165480 h 252000"/>
              <a:gd name="connsiteX36" fmla="*/ 16226 w 290316"/>
              <a:gd name="connsiteY36" fmla="*/ 154068 h 252000"/>
              <a:gd name="connsiteX37" fmla="*/ 3070 w 290316"/>
              <a:gd name="connsiteY37" fmla="*/ 139583 h 252000"/>
              <a:gd name="connsiteX38" fmla="*/ 0 w 290316"/>
              <a:gd name="connsiteY38" fmla="*/ 133877 h 252000"/>
              <a:gd name="connsiteX39" fmla="*/ 2193 w 290316"/>
              <a:gd name="connsiteY39" fmla="*/ 129926 h 252000"/>
              <a:gd name="connsiteX40" fmla="*/ 77181 w 290316"/>
              <a:gd name="connsiteY40" fmla="*/ 0 h 25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290316" h="252000">
                <a:moveTo>
                  <a:pt x="22842" y="173895"/>
                </a:moveTo>
                <a:cubicBezTo>
                  <a:pt x="25911" y="175211"/>
                  <a:pt x="29857" y="176528"/>
                  <a:pt x="33802" y="177405"/>
                </a:cubicBezTo>
                <a:cubicBezTo>
                  <a:pt x="39063" y="178722"/>
                  <a:pt x="50024" y="181354"/>
                  <a:pt x="53093" y="181793"/>
                </a:cubicBezTo>
                <a:cubicBezTo>
                  <a:pt x="63176" y="183548"/>
                  <a:pt x="72383" y="183548"/>
                  <a:pt x="78082" y="183548"/>
                </a:cubicBezTo>
                <a:cubicBezTo>
                  <a:pt x="78082" y="183548"/>
                  <a:pt x="78082" y="183548"/>
                  <a:pt x="145159" y="183548"/>
                </a:cubicBezTo>
                <a:cubicBezTo>
                  <a:pt x="145159" y="183548"/>
                  <a:pt x="145159" y="183548"/>
                  <a:pt x="212237" y="183548"/>
                </a:cubicBezTo>
                <a:cubicBezTo>
                  <a:pt x="214867" y="183548"/>
                  <a:pt x="218374" y="183548"/>
                  <a:pt x="222759" y="183548"/>
                </a:cubicBezTo>
                <a:cubicBezTo>
                  <a:pt x="224512" y="188814"/>
                  <a:pt x="227581" y="197151"/>
                  <a:pt x="227581" y="197590"/>
                </a:cubicBezTo>
                <a:cubicBezTo>
                  <a:pt x="231527" y="208121"/>
                  <a:pt x="232842" y="218213"/>
                  <a:pt x="231965" y="227428"/>
                </a:cubicBezTo>
                <a:cubicBezTo>
                  <a:pt x="230650" y="236204"/>
                  <a:pt x="227581" y="242347"/>
                  <a:pt x="225827" y="246296"/>
                </a:cubicBezTo>
                <a:lnTo>
                  <a:pt x="222320" y="252000"/>
                </a:lnTo>
                <a:cubicBezTo>
                  <a:pt x="222320" y="252000"/>
                  <a:pt x="222320" y="252000"/>
                  <a:pt x="145159" y="252000"/>
                </a:cubicBezTo>
                <a:cubicBezTo>
                  <a:pt x="145159" y="252000"/>
                  <a:pt x="145159" y="252000"/>
                  <a:pt x="67999" y="252000"/>
                </a:cubicBezTo>
                <a:cubicBezTo>
                  <a:pt x="67999" y="252000"/>
                  <a:pt x="67999" y="252000"/>
                  <a:pt x="22842" y="173895"/>
                </a:cubicBezTo>
                <a:close/>
                <a:moveTo>
                  <a:pt x="206598" y="0"/>
                </a:moveTo>
                <a:cubicBezTo>
                  <a:pt x="206598" y="0"/>
                  <a:pt x="206598" y="0"/>
                  <a:pt x="213173" y="0"/>
                </a:cubicBezTo>
                <a:cubicBezTo>
                  <a:pt x="213173" y="0"/>
                  <a:pt x="213173" y="0"/>
                  <a:pt x="290316" y="133888"/>
                </a:cubicBezTo>
                <a:cubicBezTo>
                  <a:pt x="290316" y="133888"/>
                  <a:pt x="290316" y="133888"/>
                  <a:pt x="245608" y="212026"/>
                </a:cubicBezTo>
                <a:cubicBezTo>
                  <a:pt x="244731" y="208514"/>
                  <a:pt x="244293" y="204563"/>
                  <a:pt x="243416" y="200613"/>
                </a:cubicBezTo>
                <a:cubicBezTo>
                  <a:pt x="241663" y="195345"/>
                  <a:pt x="238157" y="184370"/>
                  <a:pt x="237280" y="181737"/>
                </a:cubicBezTo>
                <a:cubicBezTo>
                  <a:pt x="233773" y="172079"/>
                  <a:pt x="228952" y="164178"/>
                  <a:pt x="226322" y="158910"/>
                </a:cubicBezTo>
                <a:cubicBezTo>
                  <a:pt x="214926" y="139156"/>
                  <a:pt x="193010" y="100965"/>
                  <a:pt x="193010" y="100965"/>
                </a:cubicBezTo>
                <a:cubicBezTo>
                  <a:pt x="193010" y="100965"/>
                  <a:pt x="170656" y="62774"/>
                  <a:pt x="159260" y="43020"/>
                </a:cubicBezTo>
                <a:cubicBezTo>
                  <a:pt x="157945" y="40386"/>
                  <a:pt x="156192" y="37313"/>
                  <a:pt x="154000" y="33801"/>
                </a:cubicBezTo>
                <a:cubicBezTo>
                  <a:pt x="157507" y="29412"/>
                  <a:pt x="163205" y="23266"/>
                  <a:pt x="163643" y="22388"/>
                </a:cubicBezTo>
                <a:cubicBezTo>
                  <a:pt x="170656" y="14047"/>
                  <a:pt x="178984" y="7902"/>
                  <a:pt x="187312" y="3951"/>
                </a:cubicBezTo>
                <a:cubicBezTo>
                  <a:pt x="195202" y="878"/>
                  <a:pt x="202215" y="0"/>
                  <a:pt x="206598" y="0"/>
                </a:cubicBezTo>
                <a:close/>
                <a:moveTo>
                  <a:pt x="77181" y="0"/>
                </a:moveTo>
                <a:cubicBezTo>
                  <a:pt x="77181" y="0"/>
                  <a:pt x="77181" y="0"/>
                  <a:pt x="167079" y="0"/>
                </a:cubicBezTo>
                <a:cubicBezTo>
                  <a:pt x="164009" y="2195"/>
                  <a:pt x="161378" y="4828"/>
                  <a:pt x="158308" y="7901"/>
                </a:cubicBezTo>
                <a:cubicBezTo>
                  <a:pt x="154362" y="11412"/>
                  <a:pt x="147345" y="19752"/>
                  <a:pt x="145153" y="22386"/>
                </a:cubicBezTo>
                <a:cubicBezTo>
                  <a:pt x="138575" y="30287"/>
                  <a:pt x="133751" y="37749"/>
                  <a:pt x="131120" y="43016"/>
                </a:cubicBezTo>
                <a:cubicBezTo>
                  <a:pt x="119279" y="62768"/>
                  <a:pt x="97353" y="100956"/>
                  <a:pt x="97353" y="100956"/>
                </a:cubicBezTo>
                <a:cubicBezTo>
                  <a:pt x="97353" y="100956"/>
                  <a:pt x="75427" y="139144"/>
                  <a:pt x="63586" y="158896"/>
                </a:cubicBezTo>
                <a:cubicBezTo>
                  <a:pt x="62271" y="161530"/>
                  <a:pt x="60955" y="164603"/>
                  <a:pt x="58763" y="168553"/>
                </a:cubicBezTo>
                <a:cubicBezTo>
                  <a:pt x="53062" y="167236"/>
                  <a:pt x="44730" y="165919"/>
                  <a:pt x="43853" y="165480"/>
                </a:cubicBezTo>
                <a:cubicBezTo>
                  <a:pt x="32890" y="163725"/>
                  <a:pt x="23680" y="159774"/>
                  <a:pt x="16226" y="154068"/>
                </a:cubicBezTo>
                <a:cubicBezTo>
                  <a:pt x="9209" y="148801"/>
                  <a:pt x="5262" y="143095"/>
                  <a:pt x="3070" y="139583"/>
                </a:cubicBezTo>
                <a:cubicBezTo>
                  <a:pt x="3070" y="139583"/>
                  <a:pt x="3070" y="139583"/>
                  <a:pt x="0" y="133877"/>
                </a:cubicBezTo>
                <a:cubicBezTo>
                  <a:pt x="0" y="133877"/>
                  <a:pt x="0" y="133877"/>
                  <a:pt x="2193" y="129926"/>
                </a:cubicBezTo>
                <a:cubicBezTo>
                  <a:pt x="2193" y="129926"/>
                  <a:pt x="2193" y="129926"/>
                  <a:pt x="77181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1068984626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ab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>
            <a:extLst>
              <a:ext uri="{FF2B5EF4-FFF2-40B4-BE49-F238E27FC236}">
                <a16:creationId xmlns:a16="http://schemas.microsoft.com/office/drawing/2014/main" id="{A1D18045-8E68-46CA-83F0-1F20C5F8A4B4}"/>
              </a:ext>
            </a:extLst>
          </p:cNvPr>
          <p:cNvSpPr/>
          <p:nvPr userDrawn="1"/>
        </p:nvSpPr>
        <p:spPr bwMode="white">
          <a:xfrm>
            <a:off x="8112124" y="0"/>
            <a:ext cx="4079875" cy="645318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sz="1200" b="1" noProof="0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272EE45A-00D9-46AF-9122-E4C64CC51A8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807997" y="1391923"/>
            <a:ext cx="6056193" cy="4636832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9631D01A-40CA-4B56-9A6A-2CCA5614247A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336550" y="0"/>
            <a:ext cx="7631113" cy="1123950"/>
          </a:xfrm>
        </p:spPr>
        <p:txBody>
          <a:bodyPr rIns="0"/>
          <a:lstStyle/>
          <a:p>
            <a:r>
              <a:rPr lang="en-US" noProof="0"/>
              <a:t>Click to edit Master title style</a:t>
            </a:r>
            <a:endParaRPr lang="de-DE" noProof="0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EC3B4A5E-48C8-4076-ADCC-30B7DD183BB5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F6B25EBE-6D7F-4287-B918-AAF34846D94F}" type="datetime1">
              <a:rPr lang="de-DE" noProof="0" smtClean="0"/>
              <a:t>22.10.2023</a:t>
            </a:fld>
            <a:endParaRPr lang="de-DE" sz="800" noProof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53F68D4-336C-44F9-8F3C-3F833A3CB0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pPr algn="ctr"/>
            <a:r>
              <a:rPr lang="de-DE" noProof="0"/>
              <a:t>Commerzbank AG, Max Mustermann, GM-C Brand Management 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6B524BB-DBA7-4204-85C4-747F2C0EBB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CAEFDB47-5D1C-45E7-8BD0-EF74349B00F7}" type="slidenum">
              <a:rPr lang="de-DE" noProof="0" smtClean="0"/>
              <a:pPr/>
              <a:t>‹#›</a:t>
            </a:fld>
            <a:endParaRPr lang="de-DE" b="0" noProof="0"/>
          </a:p>
        </p:txBody>
      </p:sp>
      <p:sp>
        <p:nvSpPr>
          <p:cNvPr id="20" name="Bildplatzhalter 19">
            <a:extLst>
              <a:ext uri="{FF2B5EF4-FFF2-40B4-BE49-F238E27FC236}">
                <a16:creationId xmlns:a16="http://schemas.microsoft.com/office/drawing/2014/main" id="{08364F5A-F626-4E0B-B806-2DE9E115A8F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5997263" y="1581217"/>
            <a:ext cx="5676718" cy="4258905"/>
          </a:xfrm>
          <a:custGeom>
            <a:avLst/>
            <a:gdLst>
              <a:gd name="connsiteX0" fmla="*/ 76466 w 5676718"/>
              <a:gd name="connsiteY0" fmla="*/ 0 h 4258905"/>
              <a:gd name="connsiteX1" fmla="*/ 5600283 w 5676718"/>
              <a:gd name="connsiteY1" fmla="*/ 0 h 4258905"/>
              <a:gd name="connsiteX2" fmla="*/ 5676718 w 5676718"/>
              <a:gd name="connsiteY2" fmla="*/ 76466 h 4258905"/>
              <a:gd name="connsiteX3" fmla="*/ 5676718 w 5676718"/>
              <a:gd name="connsiteY3" fmla="*/ 4182438 h 4258905"/>
              <a:gd name="connsiteX4" fmla="*/ 5600252 w 5676718"/>
              <a:gd name="connsiteY4" fmla="*/ 4258905 h 4258905"/>
              <a:gd name="connsiteX5" fmla="*/ 76466 w 5676718"/>
              <a:gd name="connsiteY5" fmla="*/ 4258905 h 4258905"/>
              <a:gd name="connsiteX6" fmla="*/ 0 w 5676718"/>
              <a:gd name="connsiteY6" fmla="*/ 4182438 h 4258905"/>
              <a:gd name="connsiteX7" fmla="*/ 0 w 5676718"/>
              <a:gd name="connsiteY7" fmla="*/ 76466 h 4258905"/>
              <a:gd name="connsiteX8" fmla="*/ 76466 w 5676718"/>
              <a:gd name="connsiteY8" fmla="*/ 0 h 42589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676718" h="4258905">
                <a:moveTo>
                  <a:pt x="76466" y="0"/>
                </a:moveTo>
                <a:lnTo>
                  <a:pt x="5600283" y="0"/>
                </a:lnTo>
                <a:cubicBezTo>
                  <a:pt x="5642489" y="0"/>
                  <a:pt x="5676718" y="34229"/>
                  <a:pt x="5676718" y="76466"/>
                </a:cubicBezTo>
                <a:lnTo>
                  <a:pt x="5676718" y="4182438"/>
                </a:lnTo>
                <a:cubicBezTo>
                  <a:pt x="5676718" y="4224676"/>
                  <a:pt x="5642489" y="4258905"/>
                  <a:pt x="5600252" y="4258905"/>
                </a:cubicBezTo>
                <a:lnTo>
                  <a:pt x="76466" y="4258905"/>
                </a:lnTo>
                <a:cubicBezTo>
                  <a:pt x="34229" y="4258873"/>
                  <a:pt x="0" y="4224644"/>
                  <a:pt x="0" y="4182438"/>
                </a:cubicBezTo>
                <a:lnTo>
                  <a:pt x="0" y="76466"/>
                </a:lnTo>
                <a:cubicBezTo>
                  <a:pt x="0" y="34229"/>
                  <a:pt x="34229" y="0"/>
                  <a:pt x="76466" y="0"/>
                </a:cubicBezTo>
                <a:close/>
              </a:path>
            </a:pathLst>
          </a:custGeom>
          <a:noFill/>
          <a:effectLst>
            <a:innerShdw blurRad="25400">
              <a:prstClr val="black">
                <a:alpha val="42000"/>
              </a:prstClr>
            </a:innerShdw>
          </a:effectLst>
        </p:spPr>
        <p:txBody>
          <a:bodyPr wrap="square" tIns="720000" rIns="0" bIns="576000" anchor="b">
            <a:noAutofit/>
          </a:bodyPr>
          <a:lstStyle>
            <a:lvl1pPr marL="0" indent="0" algn="ctr">
              <a:buNone/>
              <a:defRPr sz="800">
                <a:solidFill>
                  <a:schemeClr val="accent6"/>
                </a:solidFill>
              </a:defRPr>
            </a:lvl1pPr>
          </a:lstStyle>
          <a:p>
            <a:r>
              <a:rPr lang="de-DE" noProof="0" dirty="0"/>
              <a:t>Fügen Sie ein Bild über Klicken auf das Symbol ein. </a:t>
            </a: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Alternativ kopieren Sie ein Bild in die Zwischenablage, </a:t>
            </a:r>
            <a:br>
              <a:rPr lang="de-DE" noProof="0" dirty="0"/>
            </a:br>
            <a:r>
              <a:rPr lang="de-DE" noProof="0" dirty="0"/>
              <a:t>wählen Sie den Platzhalter an und klicken Sie einfügen. </a:t>
            </a:r>
          </a:p>
        </p:txBody>
      </p:sp>
      <p:sp>
        <p:nvSpPr>
          <p:cNvPr id="12" name="Textplatzhalter 14">
            <a:extLst>
              <a:ext uri="{FF2B5EF4-FFF2-40B4-BE49-F238E27FC236}">
                <a16:creationId xmlns:a16="http://schemas.microsoft.com/office/drawing/2014/main" id="{5981AF10-97DB-40EC-8613-F58EA5D3887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>
          <a:xfrm>
            <a:off x="336550" y="1411288"/>
            <a:ext cx="3743325" cy="5041901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de-DE" noProof="0"/>
          </a:p>
        </p:txBody>
      </p:sp>
      <p:sp>
        <p:nvSpPr>
          <p:cNvPr id="11" name="Freihandform: Form 10">
            <a:extLst>
              <a:ext uri="{FF2B5EF4-FFF2-40B4-BE49-F238E27FC236}">
                <a16:creationId xmlns:a16="http://schemas.microsoft.com/office/drawing/2014/main" id="{628357FE-982B-4602-812A-DA6290B2822B}"/>
              </a:ext>
            </a:extLst>
          </p:cNvPr>
          <p:cNvSpPr>
            <a:spLocks/>
          </p:cNvSpPr>
          <p:nvPr userDrawn="1"/>
        </p:nvSpPr>
        <p:spPr bwMode="invGray">
          <a:xfrm>
            <a:off x="11522271" y="260351"/>
            <a:ext cx="332854" cy="288924"/>
          </a:xfrm>
          <a:custGeom>
            <a:avLst/>
            <a:gdLst>
              <a:gd name="connsiteX0" fmla="*/ 22842 w 290316"/>
              <a:gd name="connsiteY0" fmla="*/ 173895 h 252000"/>
              <a:gd name="connsiteX1" fmla="*/ 33802 w 290316"/>
              <a:gd name="connsiteY1" fmla="*/ 177405 h 252000"/>
              <a:gd name="connsiteX2" fmla="*/ 53093 w 290316"/>
              <a:gd name="connsiteY2" fmla="*/ 181793 h 252000"/>
              <a:gd name="connsiteX3" fmla="*/ 78082 w 290316"/>
              <a:gd name="connsiteY3" fmla="*/ 183548 h 252000"/>
              <a:gd name="connsiteX4" fmla="*/ 145159 w 290316"/>
              <a:gd name="connsiteY4" fmla="*/ 183548 h 252000"/>
              <a:gd name="connsiteX5" fmla="*/ 212237 w 290316"/>
              <a:gd name="connsiteY5" fmla="*/ 183548 h 252000"/>
              <a:gd name="connsiteX6" fmla="*/ 222759 w 290316"/>
              <a:gd name="connsiteY6" fmla="*/ 183548 h 252000"/>
              <a:gd name="connsiteX7" fmla="*/ 227581 w 290316"/>
              <a:gd name="connsiteY7" fmla="*/ 197590 h 252000"/>
              <a:gd name="connsiteX8" fmla="*/ 231965 w 290316"/>
              <a:gd name="connsiteY8" fmla="*/ 227428 h 252000"/>
              <a:gd name="connsiteX9" fmla="*/ 225827 w 290316"/>
              <a:gd name="connsiteY9" fmla="*/ 246296 h 252000"/>
              <a:gd name="connsiteX10" fmla="*/ 222320 w 290316"/>
              <a:gd name="connsiteY10" fmla="*/ 252000 h 252000"/>
              <a:gd name="connsiteX11" fmla="*/ 145159 w 290316"/>
              <a:gd name="connsiteY11" fmla="*/ 252000 h 252000"/>
              <a:gd name="connsiteX12" fmla="*/ 67999 w 290316"/>
              <a:gd name="connsiteY12" fmla="*/ 252000 h 252000"/>
              <a:gd name="connsiteX13" fmla="*/ 22842 w 290316"/>
              <a:gd name="connsiteY13" fmla="*/ 173895 h 252000"/>
              <a:gd name="connsiteX14" fmla="*/ 206598 w 290316"/>
              <a:gd name="connsiteY14" fmla="*/ 0 h 252000"/>
              <a:gd name="connsiteX15" fmla="*/ 213173 w 290316"/>
              <a:gd name="connsiteY15" fmla="*/ 0 h 252000"/>
              <a:gd name="connsiteX16" fmla="*/ 290316 w 290316"/>
              <a:gd name="connsiteY16" fmla="*/ 133888 h 252000"/>
              <a:gd name="connsiteX17" fmla="*/ 245608 w 290316"/>
              <a:gd name="connsiteY17" fmla="*/ 212026 h 252000"/>
              <a:gd name="connsiteX18" fmla="*/ 243416 w 290316"/>
              <a:gd name="connsiteY18" fmla="*/ 200613 h 252000"/>
              <a:gd name="connsiteX19" fmla="*/ 237280 w 290316"/>
              <a:gd name="connsiteY19" fmla="*/ 181737 h 252000"/>
              <a:gd name="connsiteX20" fmla="*/ 226322 w 290316"/>
              <a:gd name="connsiteY20" fmla="*/ 158910 h 252000"/>
              <a:gd name="connsiteX21" fmla="*/ 193010 w 290316"/>
              <a:gd name="connsiteY21" fmla="*/ 100965 h 252000"/>
              <a:gd name="connsiteX22" fmla="*/ 159260 w 290316"/>
              <a:gd name="connsiteY22" fmla="*/ 43020 h 252000"/>
              <a:gd name="connsiteX23" fmla="*/ 154000 w 290316"/>
              <a:gd name="connsiteY23" fmla="*/ 33801 h 252000"/>
              <a:gd name="connsiteX24" fmla="*/ 163643 w 290316"/>
              <a:gd name="connsiteY24" fmla="*/ 22388 h 252000"/>
              <a:gd name="connsiteX25" fmla="*/ 187312 w 290316"/>
              <a:gd name="connsiteY25" fmla="*/ 3951 h 252000"/>
              <a:gd name="connsiteX26" fmla="*/ 206598 w 290316"/>
              <a:gd name="connsiteY26" fmla="*/ 0 h 252000"/>
              <a:gd name="connsiteX27" fmla="*/ 77181 w 290316"/>
              <a:gd name="connsiteY27" fmla="*/ 0 h 252000"/>
              <a:gd name="connsiteX28" fmla="*/ 167079 w 290316"/>
              <a:gd name="connsiteY28" fmla="*/ 0 h 252000"/>
              <a:gd name="connsiteX29" fmla="*/ 158308 w 290316"/>
              <a:gd name="connsiteY29" fmla="*/ 7901 h 252000"/>
              <a:gd name="connsiteX30" fmla="*/ 145153 w 290316"/>
              <a:gd name="connsiteY30" fmla="*/ 22386 h 252000"/>
              <a:gd name="connsiteX31" fmla="*/ 131120 w 290316"/>
              <a:gd name="connsiteY31" fmla="*/ 43016 h 252000"/>
              <a:gd name="connsiteX32" fmla="*/ 97353 w 290316"/>
              <a:gd name="connsiteY32" fmla="*/ 100956 h 252000"/>
              <a:gd name="connsiteX33" fmla="*/ 63586 w 290316"/>
              <a:gd name="connsiteY33" fmla="*/ 158896 h 252000"/>
              <a:gd name="connsiteX34" fmla="*/ 58763 w 290316"/>
              <a:gd name="connsiteY34" fmla="*/ 168553 h 252000"/>
              <a:gd name="connsiteX35" fmla="*/ 43853 w 290316"/>
              <a:gd name="connsiteY35" fmla="*/ 165480 h 252000"/>
              <a:gd name="connsiteX36" fmla="*/ 16226 w 290316"/>
              <a:gd name="connsiteY36" fmla="*/ 154068 h 252000"/>
              <a:gd name="connsiteX37" fmla="*/ 3070 w 290316"/>
              <a:gd name="connsiteY37" fmla="*/ 139583 h 252000"/>
              <a:gd name="connsiteX38" fmla="*/ 0 w 290316"/>
              <a:gd name="connsiteY38" fmla="*/ 133877 h 252000"/>
              <a:gd name="connsiteX39" fmla="*/ 2193 w 290316"/>
              <a:gd name="connsiteY39" fmla="*/ 129926 h 252000"/>
              <a:gd name="connsiteX40" fmla="*/ 77181 w 290316"/>
              <a:gd name="connsiteY40" fmla="*/ 0 h 25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290316" h="252000">
                <a:moveTo>
                  <a:pt x="22842" y="173895"/>
                </a:moveTo>
                <a:cubicBezTo>
                  <a:pt x="25911" y="175211"/>
                  <a:pt x="29857" y="176528"/>
                  <a:pt x="33802" y="177405"/>
                </a:cubicBezTo>
                <a:cubicBezTo>
                  <a:pt x="39063" y="178722"/>
                  <a:pt x="50024" y="181354"/>
                  <a:pt x="53093" y="181793"/>
                </a:cubicBezTo>
                <a:cubicBezTo>
                  <a:pt x="63176" y="183548"/>
                  <a:pt x="72383" y="183548"/>
                  <a:pt x="78082" y="183548"/>
                </a:cubicBezTo>
                <a:cubicBezTo>
                  <a:pt x="78082" y="183548"/>
                  <a:pt x="78082" y="183548"/>
                  <a:pt x="145159" y="183548"/>
                </a:cubicBezTo>
                <a:cubicBezTo>
                  <a:pt x="145159" y="183548"/>
                  <a:pt x="145159" y="183548"/>
                  <a:pt x="212237" y="183548"/>
                </a:cubicBezTo>
                <a:cubicBezTo>
                  <a:pt x="214867" y="183548"/>
                  <a:pt x="218374" y="183548"/>
                  <a:pt x="222759" y="183548"/>
                </a:cubicBezTo>
                <a:cubicBezTo>
                  <a:pt x="224512" y="188814"/>
                  <a:pt x="227581" y="197151"/>
                  <a:pt x="227581" y="197590"/>
                </a:cubicBezTo>
                <a:cubicBezTo>
                  <a:pt x="231527" y="208121"/>
                  <a:pt x="232842" y="218213"/>
                  <a:pt x="231965" y="227428"/>
                </a:cubicBezTo>
                <a:cubicBezTo>
                  <a:pt x="230650" y="236204"/>
                  <a:pt x="227581" y="242347"/>
                  <a:pt x="225827" y="246296"/>
                </a:cubicBezTo>
                <a:lnTo>
                  <a:pt x="222320" y="252000"/>
                </a:lnTo>
                <a:cubicBezTo>
                  <a:pt x="222320" y="252000"/>
                  <a:pt x="222320" y="252000"/>
                  <a:pt x="145159" y="252000"/>
                </a:cubicBezTo>
                <a:cubicBezTo>
                  <a:pt x="145159" y="252000"/>
                  <a:pt x="145159" y="252000"/>
                  <a:pt x="67999" y="252000"/>
                </a:cubicBezTo>
                <a:cubicBezTo>
                  <a:pt x="67999" y="252000"/>
                  <a:pt x="67999" y="252000"/>
                  <a:pt x="22842" y="173895"/>
                </a:cubicBezTo>
                <a:close/>
                <a:moveTo>
                  <a:pt x="206598" y="0"/>
                </a:moveTo>
                <a:cubicBezTo>
                  <a:pt x="206598" y="0"/>
                  <a:pt x="206598" y="0"/>
                  <a:pt x="213173" y="0"/>
                </a:cubicBezTo>
                <a:cubicBezTo>
                  <a:pt x="213173" y="0"/>
                  <a:pt x="213173" y="0"/>
                  <a:pt x="290316" y="133888"/>
                </a:cubicBezTo>
                <a:cubicBezTo>
                  <a:pt x="290316" y="133888"/>
                  <a:pt x="290316" y="133888"/>
                  <a:pt x="245608" y="212026"/>
                </a:cubicBezTo>
                <a:cubicBezTo>
                  <a:pt x="244731" y="208514"/>
                  <a:pt x="244293" y="204563"/>
                  <a:pt x="243416" y="200613"/>
                </a:cubicBezTo>
                <a:cubicBezTo>
                  <a:pt x="241663" y="195345"/>
                  <a:pt x="238157" y="184370"/>
                  <a:pt x="237280" y="181737"/>
                </a:cubicBezTo>
                <a:cubicBezTo>
                  <a:pt x="233773" y="172079"/>
                  <a:pt x="228952" y="164178"/>
                  <a:pt x="226322" y="158910"/>
                </a:cubicBezTo>
                <a:cubicBezTo>
                  <a:pt x="214926" y="139156"/>
                  <a:pt x="193010" y="100965"/>
                  <a:pt x="193010" y="100965"/>
                </a:cubicBezTo>
                <a:cubicBezTo>
                  <a:pt x="193010" y="100965"/>
                  <a:pt x="170656" y="62774"/>
                  <a:pt x="159260" y="43020"/>
                </a:cubicBezTo>
                <a:cubicBezTo>
                  <a:pt x="157945" y="40386"/>
                  <a:pt x="156192" y="37313"/>
                  <a:pt x="154000" y="33801"/>
                </a:cubicBezTo>
                <a:cubicBezTo>
                  <a:pt x="157507" y="29412"/>
                  <a:pt x="163205" y="23266"/>
                  <a:pt x="163643" y="22388"/>
                </a:cubicBezTo>
                <a:cubicBezTo>
                  <a:pt x="170656" y="14047"/>
                  <a:pt x="178984" y="7902"/>
                  <a:pt x="187312" y="3951"/>
                </a:cubicBezTo>
                <a:cubicBezTo>
                  <a:pt x="195202" y="878"/>
                  <a:pt x="202215" y="0"/>
                  <a:pt x="206598" y="0"/>
                </a:cubicBezTo>
                <a:close/>
                <a:moveTo>
                  <a:pt x="77181" y="0"/>
                </a:moveTo>
                <a:cubicBezTo>
                  <a:pt x="77181" y="0"/>
                  <a:pt x="77181" y="0"/>
                  <a:pt x="167079" y="0"/>
                </a:cubicBezTo>
                <a:cubicBezTo>
                  <a:pt x="164009" y="2195"/>
                  <a:pt x="161378" y="4828"/>
                  <a:pt x="158308" y="7901"/>
                </a:cubicBezTo>
                <a:cubicBezTo>
                  <a:pt x="154362" y="11412"/>
                  <a:pt x="147345" y="19752"/>
                  <a:pt x="145153" y="22386"/>
                </a:cubicBezTo>
                <a:cubicBezTo>
                  <a:pt x="138575" y="30287"/>
                  <a:pt x="133751" y="37749"/>
                  <a:pt x="131120" y="43016"/>
                </a:cubicBezTo>
                <a:cubicBezTo>
                  <a:pt x="119279" y="62768"/>
                  <a:pt x="97353" y="100956"/>
                  <a:pt x="97353" y="100956"/>
                </a:cubicBezTo>
                <a:cubicBezTo>
                  <a:pt x="97353" y="100956"/>
                  <a:pt x="75427" y="139144"/>
                  <a:pt x="63586" y="158896"/>
                </a:cubicBezTo>
                <a:cubicBezTo>
                  <a:pt x="62271" y="161530"/>
                  <a:pt x="60955" y="164603"/>
                  <a:pt x="58763" y="168553"/>
                </a:cubicBezTo>
                <a:cubicBezTo>
                  <a:pt x="53062" y="167236"/>
                  <a:pt x="44730" y="165919"/>
                  <a:pt x="43853" y="165480"/>
                </a:cubicBezTo>
                <a:cubicBezTo>
                  <a:pt x="32890" y="163725"/>
                  <a:pt x="23680" y="159774"/>
                  <a:pt x="16226" y="154068"/>
                </a:cubicBezTo>
                <a:cubicBezTo>
                  <a:pt x="9209" y="148801"/>
                  <a:pt x="5262" y="143095"/>
                  <a:pt x="3070" y="139583"/>
                </a:cubicBezTo>
                <a:cubicBezTo>
                  <a:pt x="3070" y="139583"/>
                  <a:pt x="3070" y="139583"/>
                  <a:pt x="0" y="133877"/>
                </a:cubicBezTo>
                <a:cubicBezTo>
                  <a:pt x="0" y="133877"/>
                  <a:pt x="0" y="133877"/>
                  <a:pt x="2193" y="129926"/>
                </a:cubicBezTo>
                <a:cubicBezTo>
                  <a:pt x="2193" y="129926"/>
                  <a:pt x="2193" y="129926"/>
                  <a:pt x="77181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3594588613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eck 9">
            <a:extLst>
              <a:ext uri="{FF2B5EF4-FFF2-40B4-BE49-F238E27FC236}">
                <a16:creationId xmlns:a16="http://schemas.microsoft.com/office/drawing/2014/main" id="{808FDAE0-CFCF-4E75-AE61-2D84BDF3CF42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0000"/>
          </a:solidFill>
          <a:ln w="19050" cap="rnd">
            <a:noFill/>
          </a:ln>
          <a:effectLst>
            <a:glow rad="254000">
              <a:srgbClr val="008A4F">
                <a:alpha val="2000"/>
              </a:srgbClr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44000" rIns="144000" bIns="144000" rtlCol="0" anchor="ctr">
            <a:noAutofit/>
          </a:bodyPr>
          <a:lstStyle/>
          <a:p>
            <a:pPr algn="ctr"/>
            <a:endParaRPr lang="de-DE" sz="1600" b="1" err="1">
              <a:solidFill>
                <a:schemeClr val="bg1"/>
              </a:solidFill>
              <a:latin typeface="+mj-lt"/>
            </a:endParaRPr>
          </a:p>
        </p:txBody>
      </p:sp>
      <p:sp>
        <p:nvSpPr>
          <p:cNvPr id="9" name="Medienplatzhalter 8">
            <a:extLst>
              <a:ext uri="{FF2B5EF4-FFF2-40B4-BE49-F238E27FC236}">
                <a16:creationId xmlns:a16="http://schemas.microsoft.com/office/drawing/2014/main" id="{CD6050FB-DE36-4D86-9C1A-B8C6991159EE}"/>
              </a:ext>
            </a:extLst>
          </p:cNvPr>
          <p:cNvSpPr>
            <a:spLocks noGrp="1"/>
          </p:cNvSpPr>
          <p:nvPr>
            <p:ph type="media" sz="quarter" idx="13" hasCustomPrompt="1"/>
          </p:nvPr>
        </p:nvSpPr>
        <p:spPr>
          <a:xfrm>
            <a:off x="0" y="0"/>
            <a:ext cx="12192000" cy="6858000"/>
          </a:xfrm>
          <a:solidFill>
            <a:schemeClr val="bg2"/>
          </a:solidFill>
        </p:spPr>
        <p:txBody>
          <a:bodyPr tIns="828000" anchor="ctr"/>
          <a:lstStyle>
            <a:lvl1pPr marL="0" indent="0" algn="ctr">
              <a:buNone/>
              <a:defRPr sz="800" i="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Video über Klicken auf Symbol hinzufügen</a:t>
            </a:r>
          </a:p>
        </p:txBody>
      </p:sp>
      <p:sp>
        <p:nvSpPr>
          <p:cNvPr id="11" name="Datumsplatzhalter 1">
            <a:extLst>
              <a:ext uri="{FF2B5EF4-FFF2-40B4-BE49-F238E27FC236}">
                <a16:creationId xmlns:a16="http://schemas.microsoft.com/office/drawing/2014/main" id="{D7DF414D-C647-45DC-A53D-3BE08C147EF7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>
          <a:xfrm>
            <a:off x="336550" y="6993396"/>
            <a:ext cx="863450" cy="144016"/>
          </a:xfrm>
        </p:spPr>
        <p:txBody>
          <a:bodyPr/>
          <a:lstStyle>
            <a:lvl1pPr>
              <a:defRPr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fld id="{22E36138-5D68-4BAE-ABBD-E365238838DF}" type="datetime1">
              <a:rPr lang="de-DE" noProof="0" smtClean="0"/>
              <a:t>22.10.2023</a:t>
            </a:fld>
            <a:endParaRPr lang="de-DE" noProof="0"/>
          </a:p>
        </p:txBody>
      </p:sp>
      <p:sp>
        <p:nvSpPr>
          <p:cNvPr id="12" name="Fußzeilenplatzhalter 2">
            <a:extLst>
              <a:ext uri="{FF2B5EF4-FFF2-40B4-BE49-F238E27FC236}">
                <a16:creationId xmlns:a16="http://schemas.microsoft.com/office/drawing/2014/main" id="{73732EA5-6572-401E-8E57-0EE06FB9EB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>
          <a:xfrm>
            <a:off x="3792538" y="6993396"/>
            <a:ext cx="4606924" cy="144016"/>
          </a:xfrm>
        </p:spPr>
        <p:txBody>
          <a:bodyPr/>
          <a:lstStyle>
            <a:lvl1pPr>
              <a:defRPr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r>
              <a:rPr lang="de-DE" noProof="0"/>
              <a:t>Commerzbank AG, Max Mustermann, GM-C Brand Management </a:t>
            </a:r>
          </a:p>
        </p:txBody>
      </p:sp>
      <p:sp>
        <p:nvSpPr>
          <p:cNvPr id="13" name="Foliennummernplatzhalter 3">
            <a:extLst>
              <a:ext uri="{FF2B5EF4-FFF2-40B4-BE49-F238E27FC236}">
                <a16:creationId xmlns:a16="http://schemas.microsoft.com/office/drawing/2014/main" id="{5564EBD7-E421-420C-80ED-5FB9B4241C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>
          <a:xfrm>
            <a:off x="11280774" y="6993396"/>
            <a:ext cx="574675" cy="144016"/>
          </a:xfrm>
        </p:spPr>
        <p:txBody>
          <a:bodyPr/>
          <a:lstStyle>
            <a:lvl1pPr>
              <a:defRPr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fld id="{CAEFDB47-5D1C-45E7-8BD0-EF74349B00F7}" type="slidenum">
              <a:rPr lang="de-DE" noProof="0" smtClean="0"/>
              <a:pPr/>
              <a:t>‹#›</a:t>
            </a:fld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2969420781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Video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>
            <a:extLst>
              <a:ext uri="{FF2B5EF4-FFF2-40B4-BE49-F238E27FC236}">
                <a16:creationId xmlns:a16="http://schemas.microsoft.com/office/drawing/2014/main" id="{A1D18045-8E68-46CA-83F0-1F20C5F8A4B4}"/>
              </a:ext>
            </a:extLst>
          </p:cNvPr>
          <p:cNvSpPr/>
          <p:nvPr userDrawn="1"/>
        </p:nvSpPr>
        <p:spPr bwMode="white">
          <a:xfrm>
            <a:off x="8112125" y="0"/>
            <a:ext cx="4079874" cy="645318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sz="1200" b="1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631D01A-40CA-4B56-9A6A-2CCA5614247A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336550" y="0"/>
            <a:ext cx="7631114" cy="1123950"/>
          </a:xfrm>
        </p:spPr>
        <p:txBody>
          <a:bodyPr rIns="0"/>
          <a:lstStyle/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EC3B4A5E-48C8-4076-ADCC-30B7DD183BB5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1697722E-91E4-4B81-82DF-96317315EA7C}" type="datetime1">
              <a:rPr lang="de-DE" smtClean="0"/>
              <a:t>22.10.2023</a:t>
            </a:fld>
            <a:endParaRPr lang="de-DE" sz="80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53F68D4-336C-44F9-8F3C-3F833A3CB0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pPr algn="ctr"/>
            <a:r>
              <a:rPr lang="de-DE"/>
              <a:t>Commerzbank AG, Max Mustermann, GM-C Brand Management 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6B524BB-DBA7-4204-85C4-747F2C0EBB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CAEFDB47-5D1C-45E7-8BD0-EF74349B00F7}" type="slidenum">
              <a:rPr lang="de-DE" smtClean="0"/>
              <a:pPr/>
              <a:t>‹#›</a:t>
            </a:fld>
            <a:endParaRPr lang="de-DE" b="0"/>
          </a:p>
        </p:txBody>
      </p:sp>
      <p:sp>
        <p:nvSpPr>
          <p:cNvPr id="13" name="Textplatzhalter 14">
            <a:extLst>
              <a:ext uri="{FF2B5EF4-FFF2-40B4-BE49-F238E27FC236}">
                <a16:creationId xmlns:a16="http://schemas.microsoft.com/office/drawing/2014/main" id="{095A8B34-4A01-456A-B199-E260D416446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>
          <a:xfrm>
            <a:off x="336550" y="1411288"/>
            <a:ext cx="3743326" cy="5041901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de-DE" noProof="0"/>
          </a:p>
        </p:txBody>
      </p:sp>
      <p:pic>
        <p:nvPicPr>
          <p:cNvPr id="15" name="Grafik 14" descr="Ein Bild, das Text, Anzeige, Nachthimmel enthält.&#10;&#10;Automatisch generierte Beschreibung">
            <a:extLst>
              <a:ext uri="{FF2B5EF4-FFF2-40B4-BE49-F238E27FC236}">
                <a16:creationId xmlns:a16="http://schemas.microsoft.com/office/drawing/2014/main" id="{8AD75974-F525-4A18-8953-F7E9CD345E8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66725" y="1410971"/>
            <a:ext cx="7686480" cy="4385024"/>
          </a:xfrm>
          <a:prstGeom prst="rect">
            <a:avLst/>
          </a:prstGeom>
        </p:spPr>
      </p:pic>
      <p:sp>
        <p:nvSpPr>
          <p:cNvPr id="17" name="Medienplatzhalter 16">
            <a:extLst>
              <a:ext uri="{FF2B5EF4-FFF2-40B4-BE49-F238E27FC236}">
                <a16:creationId xmlns:a16="http://schemas.microsoft.com/office/drawing/2014/main" id="{D12B9425-A179-416D-B974-E93DC1E04346}"/>
              </a:ext>
            </a:extLst>
          </p:cNvPr>
          <p:cNvSpPr>
            <a:spLocks noGrp="1" noChangeAspect="1"/>
          </p:cNvSpPr>
          <p:nvPr>
            <p:ph type="media" sz="quarter" idx="18" hasCustomPrompt="1"/>
          </p:nvPr>
        </p:nvSpPr>
        <p:spPr bwMode="gray">
          <a:xfrm>
            <a:off x="5004793" y="1644285"/>
            <a:ext cx="6010349" cy="3735436"/>
          </a:xfrm>
          <a:custGeom>
            <a:avLst/>
            <a:gdLst>
              <a:gd name="connsiteX0" fmla="*/ 0 w 6010349"/>
              <a:gd name="connsiteY0" fmla="*/ 0 h 3735436"/>
              <a:gd name="connsiteX1" fmla="*/ 6010349 w 6010349"/>
              <a:gd name="connsiteY1" fmla="*/ 0 h 3735436"/>
              <a:gd name="connsiteX2" fmla="*/ 6010349 w 6010349"/>
              <a:gd name="connsiteY2" fmla="*/ 3735436 h 3735436"/>
              <a:gd name="connsiteX3" fmla="*/ 0 w 6010349"/>
              <a:gd name="connsiteY3" fmla="*/ 3735436 h 37354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10349" h="3735436">
                <a:moveTo>
                  <a:pt x="0" y="0"/>
                </a:moveTo>
                <a:lnTo>
                  <a:pt x="6010349" y="0"/>
                </a:lnTo>
                <a:lnTo>
                  <a:pt x="6010349" y="3735436"/>
                </a:lnTo>
                <a:lnTo>
                  <a:pt x="0" y="3735436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tIns="828000" anchor="ctr">
            <a:noAutofit/>
          </a:bodyPr>
          <a:lstStyle>
            <a:lvl1pPr marL="0" indent="0" algn="ctr">
              <a:buNone/>
              <a:defRPr sz="800" i="0">
                <a:solidFill>
                  <a:schemeClr val="bg1"/>
                </a:solidFill>
              </a:defRPr>
            </a:lvl1pPr>
          </a:lstStyle>
          <a:p>
            <a:r>
              <a:rPr lang="de-DE"/>
              <a:t>Video über Klicken auf Symbol hinzufügen</a:t>
            </a:r>
          </a:p>
        </p:txBody>
      </p:sp>
      <p:sp>
        <p:nvSpPr>
          <p:cNvPr id="11" name="Freihandform: Form 10">
            <a:extLst>
              <a:ext uri="{FF2B5EF4-FFF2-40B4-BE49-F238E27FC236}">
                <a16:creationId xmlns:a16="http://schemas.microsoft.com/office/drawing/2014/main" id="{9C6AB7C0-FDF3-419F-909D-8AAA701C9E17}"/>
              </a:ext>
            </a:extLst>
          </p:cNvPr>
          <p:cNvSpPr>
            <a:spLocks/>
          </p:cNvSpPr>
          <p:nvPr userDrawn="1"/>
        </p:nvSpPr>
        <p:spPr bwMode="invGray">
          <a:xfrm>
            <a:off x="11522271" y="260351"/>
            <a:ext cx="332854" cy="288924"/>
          </a:xfrm>
          <a:custGeom>
            <a:avLst/>
            <a:gdLst>
              <a:gd name="connsiteX0" fmla="*/ 22842 w 290316"/>
              <a:gd name="connsiteY0" fmla="*/ 173895 h 252000"/>
              <a:gd name="connsiteX1" fmla="*/ 33802 w 290316"/>
              <a:gd name="connsiteY1" fmla="*/ 177405 h 252000"/>
              <a:gd name="connsiteX2" fmla="*/ 53093 w 290316"/>
              <a:gd name="connsiteY2" fmla="*/ 181793 h 252000"/>
              <a:gd name="connsiteX3" fmla="*/ 78082 w 290316"/>
              <a:gd name="connsiteY3" fmla="*/ 183548 h 252000"/>
              <a:gd name="connsiteX4" fmla="*/ 145159 w 290316"/>
              <a:gd name="connsiteY4" fmla="*/ 183548 h 252000"/>
              <a:gd name="connsiteX5" fmla="*/ 212237 w 290316"/>
              <a:gd name="connsiteY5" fmla="*/ 183548 h 252000"/>
              <a:gd name="connsiteX6" fmla="*/ 222759 w 290316"/>
              <a:gd name="connsiteY6" fmla="*/ 183548 h 252000"/>
              <a:gd name="connsiteX7" fmla="*/ 227581 w 290316"/>
              <a:gd name="connsiteY7" fmla="*/ 197590 h 252000"/>
              <a:gd name="connsiteX8" fmla="*/ 231965 w 290316"/>
              <a:gd name="connsiteY8" fmla="*/ 227428 h 252000"/>
              <a:gd name="connsiteX9" fmla="*/ 225827 w 290316"/>
              <a:gd name="connsiteY9" fmla="*/ 246296 h 252000"/>
              <a:gd name="connsiteX10" fmla="*/ 222320 w 290316"/>
              <a:gd name="connsiteY10" fmla="*/ 252000 h 252000"/>
              <a:gd name="connsiteX11" fmla="*/ 145159 w 290316"/>
              <a:gd name="connsiteY11" fmla="*/ 252000 h 252000"/>
              <a:gd name="connsiteX12" fmla="*/ 67999 w 290316"/>
              <a:gd name="connsiteY12" fmla="*/ 252000 h 252000"/>
              <a:gd name="connsiteX13" fmla="*/ 22842 w 290316"/>
              <a:gd name="connsiteY13" fmla="*/ 173895 h 252000"/>
              <a:gd name="connsiteX14" fmla="*/ 206598 w 290316"/>
              <a:gd name="connsiteY14" fmla="*/ 0 h 252000"/>
              <a:gd name="connsiteX15" fmla="*/ 213173 w 290316"/>
              <a:gd name="connsiteY15" fmla="*/ 0 h 252000"/>
              <a:gd name="connsiteX16" fmla="*/ 290316 w 290316"/>
              <a:gd name="connsiteY16" fmla="*/ 133888 h 252000"/>
              <a:gd name="connsiteX17" fmla="*/ 245608 w 290316"/>
              <a:gd name="connsiteY17" fmla="*/ 212026 h 252000"/>
              <a:gd name="connsiteX18" fmla="*/ 243416 w 290316"/>
              <a:gd name="connsiteY18" fmla="*/ 200613 h 252000"/>
              <a:gd name="connsiteX19" fmla="*/ 237280 w 290316"/>
              <a:gd name="connsiteY19" fmla="*/ 181737 h 252000"/>
              <a:gd name="connsiteX20" fmla="*/ 226322 w 290316"/>
              <a:gd name="connsiteY20" fmla="*/ 158910 h 252000"/>
              <a:gd name="connsiteX21" fmla="*/ 193010 w 290316"/>
              <a:gd name="connsiteY21" fmla="*/ 100965 h 252000"/>
              <a:gd name="connsiteX22" fmla="*/ 159260 w 290316"/>
              <a:gd name="connsiteY22" fmla="*/ 43020 h 252000"/>
              <a:gd name="connsiteX23" fmla="*/ 154000 w 290316"/>
              <a:gd name="connsiteY23" fmla="*/ 33801 h 252000"/>
              <a:gd name="connsiteX24" fmla="*/ 163643 w 290316"/>
              <a:gd name="connsiteY24" fmla="*/ 22388 h 252000"/>
              <a:gd name="connsiteX25" fmla="*/ 187312 w 290316"/>
              <a:gd name="connsiteY25" fmla="*/ 3951 h 252000"/>
              <a:gd name="connsiteX26" fmla="*/ 206598 w 290316"/>
              <a:gd name="connsiteY26" fmla="*/ 0 h 252000"/>
              <a:gd name="connsiteX27" fmla="*/ 77181 w 290316"/>
              <a:gd name="connsiteY27" fmla="*/ 0 h 252000"/>
              <a:gd name="connsiteX28" fmla="*/ 167079 w 290316"/>
              <a:gd name="connsiteY28" fmla="*/ 0 h 252000"/>
              <a:gd name="connsiteX29" fmla="*/ 158308 w 290316"/>
              <a:gd name="connsiteY29" fmla="*/ 7901 h 252000"/>
              <a:gd name="connsiteX30" fmla="*/ 145153 w 290316"/>
              <a:gd name="connsiteY30" fmla="*/ 22386 h 252000"/>
              <a:gd name="connsiteX31" fmla="*/ 131120 w 290316"/>
              <a:gd name="connsiteY31" fmla="*/ 43016 h 252000"/>
              <a:gd name="connsiteX32" fmla="*/ 97353 w 290316"/>
              <a:gd name="connsiteY32" fmla="*/ 100956 h 252000"/>
              <a:gd name="connsiteX33" fmla="*/ 63586 w 290316"/>
              <a:gd name="connsiteY33" fmla="*/ 158896 h 252000"/>
              <a:gd name="connsiteX34" fmla="*/ 58763 w 290316"/>
              <a:gd name="connsiteY34" fmla="*/ 168553 h 252000"/>
              <a:gd name="connsiteX35" fmla="*/ 43853 w 290316"/>
              <a:gd name="connsiteY35" fmla="*/ 165480 h 252000"/>
              <a:gd name="connsiteX36" fmla="*/ 16226 w 290316"/>
              <a:gd name="connsiteY36" fmla="*/ 154068 h 252000"/>
              <a:gd name="connsiteX37" fmla="*/ 3070 w 290316"/>
              <a:gd name="connsiteY37" fmla="*/ 139583 h 252000"/>
              <a:gd name="connsiteX38" fmla="*/ 0 w 290316"/>
              <a:gd name="connsiteY38" fmla="*/ 133877 h 252000"/>
              <a:gd name="connsiteX39" fmla="*/ 2193 w 290316"/>
              <a:gd name="connsiteY39" fmla="*/ 129926 h 252000"/>
              <a:gd name="connsiteX40" fmla="*/ 77181 w 290316"/>
              <a:gd name="connsiteY40" fmla="*/ 0 h 25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290316" h="252000">
                <a:moveTo>
                  <a:pt x="22842" y="173895"/>
                </a:moveTo>
                <a:cubicBezTo>
                  <a:pt x="25911" y="175211"/>
                  <a:pt x="29857" y="176528"/>
                  <a:pt x="33802" y="177405"/>
                </a:cubicBezTo>
                <a:cubicBezTo>
                  <a:pt x="39063" y="178722"/>
                  <a:pt x="50024" y="181354"/>
                  <a:pt x="53093" y="181793"/>
                </a:cubicBezTo>
                <a:cubicBezTo>
                  <a:pt x="63176" y="183548"/>
                  <a:pt x="72383" y="183548"/>
                  <a:pt x="78082" y="183548"/>
                </a:cubicBezTo>
                <a:cubicBezTo>
                  <a:pt x="78082" y="183548"/>
                  <a:pt x="78082" y="183548"/>
                  <a:pt x="145159" y="183548"/>
                </a:cubicBezTo>
                <a:cubicBezTo>
                  <a:pt x="145159" y="183548"/>
                  <a:pt x="145159" y="183548"/>
                  <a:pt x="212237" y="183548"/>
                </a:cubicBezTo>
                <a:cubicBezTo>
                  <a:pt x="214867" y="183548"/>
                  <a:pt x="218374" y="183548"/>
                  <a:pt x="222759" y="183548"/>
                </a:cubicBezTo>
                <a:cubicBezTo>
                  <a:pt x="224512" y="188814"/>
                  <a:pt x="227581" y="197151"/>
                  <a:pt x="227581" y="197590"/>
                </a:cubicBezTo>
                <a:cubicBezTo>
                  <a:pt x="231527" y="208121"/>
                  <a:pt x="232842" y="218213"/>
                  <a:pt x="231965" y="227428"/>
                </a:cubicBezTo>
                <a:cubicBezTo>
                  <a:pt x="230650" y="236204"/>
                  <a:pt x="227581" y="242347"/>
                  <a:pt x="225827" y="246296"/>
                </a:cubicBezTo>
                <a:lnTo>
                  <a:pt x="222320" y="252000"/>
                </a:lnTo>
                <a:cubicBezTo>
                  <a:pt x="222320" y="252000"/>
                  <a:pt x="222320" y="252000"/>
                  <a:pt x="145159" y="252000"/>
                </a:cubicBezTo>
                <a:cubicBezTo>
                  <a:pt x="145159" y="252000"/>
                  <a:pt x="145159" y="252000"/>
                  <a:pt x="67999" y="252000"/>
                </a:cubicBezTo>
                <a:cubicBezTo>
                  <a:pt x="67999" y="252000"/>
                  <a:pt x="67999" y="252000"/>
                  <a:pt x="22842" y="173895"/>
                </a:cubicBezTo>
                <a:close/>
                <a:moveTo>
                  <a:pt x="206598" y="0"/>
                </a:moveTo>
                <a:cubicBezTo>
                  <a:pt x="206598" y="0"/>
                  <a:pt x="206598" y="0"/>
                  <a:pt x="213173" y="0"/>
                </a:cubicBezTo>
                <a:cubicBezTo>
                  <a:pt x="213173" y="0"/>
                  <a:pt x="213173" y="0"/>
                  <a:pt x="290316" y="133888"/>
                </a:cubicBezTo>
                <a:cubicBezTo>
                  <a:pt x="290316" y="133888"/>
                  <a:pt x="290316" y="133888"/>
                  <a:pt x="245608" y="212026"/>
                </a:cubicBezTo>
                <a:cubicBezTo>
                  <a:pt x="244731" y="208514"/>
                  <a:pt x="244293" y="204563"/>
                  <a:pt x="243416" y="200613"/>
                </a:cubicBezTo>
                <a:cubicBezTo>
                  <a:pt x="241663" y="195345"/>
                  <a:pt x="238157" y="184370"/>
                  <a:pt x="237280" y="181737"/>
                </a:cubicBezTo>
                <a:cubicBezTo>
                  <a:pt x="233773" y="172079"/>
                  <a:pt x="228952" y="164178"/>
                  <a:pt x="226322" y="158910"/>
                </a:cubicBezTo>
                <a:cubicBezTo>
                  <a:pt x="214926" y="139156"/>
                  <a:pt x="193010" y="100965"/>
                  <a:pt x="193010" y="100965"/>
                </a:cubicBezTo>
                <a:cubicBezTo>
                  <a:pt x="193010" y="100965"/>
                  <a:pt x="170656" y="62774"/>
                  <a:pt x="159260" y="43020"/>
                </a:cubicBezTo>
                <a:cubicBezTo>
                  <a:pt x="157945" y="40386"/>
                  <a:pt x="156192" y="37313"/>
                  <a:pt x="154000" y="33801"/>
                </a:cubicBezTo>
                <a:cubicBezTo>
                  <a:pt x="157507" y="29412"/>
                  <a:pt x="163205" y="23266"/>
                  <a:pt x="163643" y="22388"/>
                </a:cubicBezTo>
                <a:cubicBezTo>
                  <a:pt x="170656" y="14047"/>
                  <a:pt x="178984" y="7902"/>
                  <a:pt x="187312" y="3951"/>
                </a:cubicBezTo>
                <a:cubicBezTo>
                  <a:pt x="195202" y="878"/>
                  <a:pt x="202215" y="0"/>
                  <a:pt x="206598" y="0"/>
                </a:cubicBezTo>
                <a:close/>
                <a:moveTo>
                  <a:pt x="77181" y="0"/>
                </a:moveTo>
                <a:cubicBezTo>
                  <a:pt x="77181" y="0"/>
                  <a:pt x="77181" y="0"/>
                  <a:pt x="167079" y="0"/>
                </a:cubicBezTo>
                <a:cubicBezTo>
                  <a:pt x="164009" y="2195"/>
                  <a:pt x="161378" y="4828"/>
                  <a:pt x="158308" y="7901"/>
                </a:cubicBezTo>
                <a:cubicBezTo>
                  <a:pt x="154362" y="11412"/>
                  <a:pt x="147345" y="19752"/>
                  <a:pt x="145153" y="22386"/>
                </a:cubicBezTo>
                <a:cubicBezTo>
                  <a:pt x="138575" y="30287"/>
                  <a:pt x="133751" y="37749"/>
                  <a:pt x="131120" y="43016"/>
                </a:cubicBezTo>
                <a:cubicBezTo>
                  <a:pt x="119279" y="62768"/>
                  <a:pt x="97353" y="100956"/>
                  <a:pt x="97353" y="100956"/>
                </a:cubicBezTo>
                <a:cubicBezTo>
                  <a:pt x="97353" y="100956"/>
                  <a:pt x="75427" y="139144"/>
                  <a:pt x="63586" y="158896"/>
                </a:cubicBezTo>
                <a:cubicBezTo>
                  <a:pt x="62271" y="161530"/>
                  <a:pt x="60955" y="164603"/>
                  <a:pt x="58763" y="168553"/>
                </a:cubicBezTo>
                <a:cubicBezTo>
                  <a:pt x="53062" y="167236"/>
                  <a:pt x="44730" y="165919"/>
                  <a:pt x="43853" y="165480"/>
                </a:cubicBezTo>
                <a:cubicBezTo>
                  <a:pt x="32890" y="163725"/>
                  <a:pt x="23680" y="159774"/>
                  <a:pt x="16226" y="154068"/>
                </a:cubicBezTo>
                <a:cubicBezTo>
                  <a:pt x="9209" y="148801"/>
                  <a:pt x="5262" y="143095"/>
                  <a:pt x="3070" y="139583"/>
                </a:cubicBezTo>
                <a:cubicBezTo>
                  <a:pt x="3070" y="139583"/>
                  <a:pt x="3070" y="139583"/>
                  <a:pt x="0" y="133877"/>
                </a:cubicBezTo>
                <a:cubicBezTo>
                  <a:pt x="0" y="133877"/>
                  <a:pt x="0" y="133877"/>
                  <a:pt x="2193" y="129926"/>
                </a:cubicBezTo>
                <a:cubicBezTo>
                  <a:pt x="2193" y="129926"/>
                  <a:pt x="2193" y="129926"/>
                  <a:pt x="77181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3310374345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mmary with Fullsiz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hteck 14">
            <a:extLst>
              <a:ext uri="{FF2B5EF4-FFF2-40B4-BE49-F238E27FC236}">
                <a16:creationId xmlns:a16="http://schemas.microsoft.com/office/drawing/2014/main" id="{3D84946B-E163-4ADA-8A99-DC1319431949}"/>
              </a:ext>
            </a:extLst>
          </p:cNvPr>
          <p:cNvSpPr/>
          <p:nvPr userDrawn="1"/>
        </p:nvSpPr>
        <p:spPr bwMode="gray">
          <a:xfrm>
            <a:off x="0" y="0"/>
            <a:ext cx="12192000" cy="645318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sz="1200" b="1">
              <a:solidFill>
                <a:schemeClr val="bg1"/>
              </a:solidFill>
            </a:endParaRPr>
          </a:p>
        </p:txBody>
      </p:sp>
      <p:sp>
        <p:nvSpPr>
          <p:cNvPr id="10" name="Bildplatzhalter 8">
            <a:extLst>
              <a:ext uri="{FF2B5EF4-FFF2-40B4-BE49-F238E27FC236}">
                <a16:creationId xmlns:a16="http://schemas.microsoft.com/office/drawing/2014/main" id="{CEC443DD-2BF6-4B18-84D7-A28FE56FF26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0" y="0"/>
            <a:ext cx="12192000" cy="6453188"/>
          </a:xfrm>
          <a:noFill/>
        </p:spPr>
        <p:txBody>
          <a:bodyPr lIns="0" tIns="0" rIns="0" bIns="576000" anchor="b"/>
          <a:lstStyle>
            <a:lvl1pPr marL="0" indent="0" algn="ctr">
              <a:buNone/>
              <a:defRPr sz="800">
                <a:solidFill>
                  <a:schemeClr val="accent6"/>
                </a:solidFill>
              </a:defRPr>
            </a:lvl1pPr>
          </a:lstStyle>
          <a:p>
            <a:r>
              <a:rPr lang="de-DE" noProof="0" dirty="0"/>
              <a:t>Fügen Sie ein Bild über Klicken auf das Symbol ein. </a:t>
            </a: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Alternativ kopieren Sie ein Bild in die Zwischenablage, </a:t>
            </a:r>
            <a:br>
              <a:rPr lang="de-DE" noProof="0" dirty="0"/>
            </a:br>
            <a:r>
              <a:rPr lang="de-DE" noProof="0" dirty="0"/>
              <a:t>wählen Sie den Platzhalter an und klicken Sie einfügen. </a:t>
            </a: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Achten Sie darauf, dass das Logo im Vordergrund ist und </a:t>
            </a:r>
            <a:br>
              <a:rPr lang="de-DE" noProof="0" dirty="0"/>
            </a:br>
            <a:r>
              <a:rPr lang="de-DE" noProof="0" dirty="0"/>
              <a:t>wählen Sie bei hellen Bildern Petrol als Logofarbe.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82F830EA-47C1-4965-BD05-B1B8E92212E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1722437" y="1412876"/>
            <a:ext cx="7218363" cy="3311524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1200"/>
              </a:spcBef>
              <a:spcAft>
                <a:spcPts val="1200"/>
              </a:spcAft>
              <a:buNone/>
              <a:defRPr sz="3200" b="1">
                <a:solidFill>
                  <a:schemeClr val="bg1"/>
                </a:solidFill>
              </a:defRPr>
            </a:lvl1pPr>
            <a:lvl2pPr marL="0" indent="0">
              <a:spcBef>
                <a:spcPts val="600"/>
              </a:spcBef>
              <a:spcAft>
                <a:spcPts val="0"/>
              </a:spcAft>
              <a:buClrTx/>
              <a:buNone/>
              <a:defRPr>
                <a:solidFill>
                  <a:schemeClr val="bg1"/>
                </a:solidFill>
              </a:defRPr>
            </a:lvl2pPr>
            <a:lvl3pPr marL="180000" indent="-180000">
              <a:buClrTx/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 marL="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</a:defRPr>
            </a:lvl5pPr>
            <a:lvl6pPr marL="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</a:defRPr>
            </a:lvl6pPr>
            <a:lvl7pPr marL="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</a:defRPr>
            </a:lvl7pPr>
            <a:lvl8pPr marL="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</a:defRPr>
            </a:lvl8pPr>
            <a:lvl9pPr marL="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  <p:sp>
        <p:nvSpPr>
          <p:cNvPr id="12" name="SmartArt-Platzhalter 11">
            <a:extLst>
              <a:ext uri="{FF2B5EF4-FFF2-40B4-BE49-F238E27FC236}">
                <a16:creationId xmlns:a16="http://schemas.microsoft.com/office/drawing/2014/main" id="{90E25250-96E1-4A78-9EE6-8AD9112BF777}"/>
              </a:ext>
            </a:extLst>
          </p:cNvPr>
          <p:cNvSpPr>
            <a:spLocks noGrp="1"/>
          </p:cNvSpPr>
          <p:nvPr>
            <p:ph type="dgm" sz="quarter" idx="15"/>
          </p:nvPr>
        </p:nvSpPr>
        <p:spPr bwMode="gray">
          <a:xfrm>
            <a:off x="11522271" y="260351"/>
            <a:ext cx="332854" cy="288924"/>
          </a:xfrm>
          <a:custGeom>
            <a:avLst/>
            <a:gdLst>
              <a:gd name="connsiteX0" fmla="*/ 26189 w 332854"/>
              <a:gd name="connsiteY0" fmla="*/ 199375 h 288924"/>
              <a:gd name="connsiteX1" fmla="*/ 38755 w 332854"/>
              <a:gd name="connsiteY1" fmla="*/ 203399 h 288924"/>
              <a:gd name="connsiteX2" fmla="*/ 60872 w 332854"/>
              <a:gd name="connsiteY2" fmla="*/ 208430 h 288924"/>
              <a:gd name="connsiteX3" fmla="*/ 89523 w 332854"/>
              <a:gd name="connsiteY3" fmla="*/ 210442 h 288924"/>
              <a:gd name="connsiteX4" fmla="*/ 166428 w 332854"/>
              <a:gd name="connsiteY4" fmla="*/ 210442 h 288924"/>
              <a:gd name="connsiteX5" fmla="*/ 243335 w 332854"/>
              <a:gd name="connsiteY5" fmla="*/ 210442 h 288924"/>
              <a:gd name="connsiteX6" fmla="*/ 255398 w 332854"/>
              <a:gd name="connsiteY6" fmla="*/ 210442 h 288924"/>
              <a:gd name="connsiteX7" fmla="*/ 260927 w 332854"/>
              <a:gd name="connsiteY7" fmla="*/ 226542 h 288924"/>
              <a:gd name="connsiteX8" fmla="*/ 265953 w 332854"/>
              <a:gd name="connsiteY8" fmla="*/ 260752 h 288924"/>
              <a:gd name="connsiteX9" fmla="*/ 258916 w 332854"/>
              <a:gd name="connsiteY9" fmla="*/ 282384 h 288924"/>
              <a:gd name="connsiteX10" fmla="*/ 254895 w 332854"/>
              <a:gd name="connsiteY10" fmla="*/ 288924 h 288924"/>
              <a:gd name="connsiteX11" fmla="*/ 253513 w 332854"/>
              <a:gd name="connsiteY11" fmla="*/ 288924 h 288924"/>
              <a:gd name="connsiteX12" fmla="*/ 243837 w 332854"/>
              <a:gd name="connsiteY12" fmla="*/ 288924 h 288924"/>
              <a:gd name="connsiteX13" fmla="*/ 217573 w 332854"/>
              <a:gd name="connsiteY13" fmla="*/ 288924 h 288924"/>
              <a:gd name="connsiteX14" fmla="*/ 166428 w 332854"/>
              <a:gd name="connsiteY14" fmla="*/ 288924 h 288924"/>
              <a:gd name="connsiteX15" fmla="*/ 165046 w 332854"/>
              <a:gd name="connsiteY15" fmla="*/ 288924 h 288924"/>
              <a:gd name="connsiteX16" fmla="*/ 155370 w 332854"/>
              <a:gd name="connsiteY16" fmla="*/ 288924 h 288924"/>
              <a:gd name="connsiteX17" fmla="*/ 129106 w 332854"/>
              <a:gd name="connsiteY17" fmla="*/ 288924 h 288924"/>
              <a:gd name="connsiteX18" fmla="*/ 77962 w 332854"/>
              <a:gd name="connsiteY18" fmla="*/ 288924 h 288924"/>
              <a:gd name="connsiteX19" fmla="*/ 26189 w 332854"/>
              <a:gd name="connsiteY19" fmla="*/ 199375 h 288924"/>
              <a:gd name="connsiteX20" fmla="*/ 236869 w 332854"/>
              <a:gd name="connsiteY20" fmla="*/ 0 h 288924"/>
              <a:gd name="connsiteX21" fmla="*/ 237811 w 332854"/>
              <a:gd name="connsiteY21" fmla="*/ 0 h 288924"/>
              <a:gd name="connsiteX22" fmla="*/ 244408 w 332854"/>
              <a:gd name="connsiteY22" fmla="*/ 0 h 288924"/>
              <a:gd name="connsiteX23" fmla="*/ 332854 w 332854"/>
              <a:gd name="connsiteY23" fmla="*/ 153506 h 288924"/>
              <a:gd name="connsiteX24" fmla="*/ 281595 w 332854"/>
              <a:gd name="connsiteY24" fmla="*/ 243093 h 288924"/>
              <a:gd name="connsiteX25" fmla="*/ 279082 w 332854"/>
              <a:gd name="connsiteY25" fmla="*/ 230008 h 288924"/>
              <a:gd name="connsiteX26" fmla="*/ 272047 w 332854"/>
              <a:gd name="connsiteY26" fmla="*/ 208366 h 288924"/>
              <a:gd name="connsiteX27" fmla="*/ 259483 w 332854"/>
              <a:gd name="connsiteY27" fmla="*/ 182194 h 288924"/>
              <a:gd name="connsiteX28" fmla="*/ 221290 w 332854"/>
              <a:gd name="connsiteY28" fmla="*/ 115759 h 288924"/>
              <a:gd name="connsiteX29" fmla="*/ 182595 w 332854"/>
              <a:gd name="connsiteY29" fmla="*/ 49323 h 288924"/>
              <a:gd name="connsiteX30" fmla="*/ 176565 w 332854"/>
              <a:gd name="connsiteY30" fmla="*/ 38754 h 288924"/>
              <a:gd name="connsiteX31" fmla="*/ 187620 w 332854"/>
              <a:gd name="connsiteY31" fmla="*/ 25668 h 288924"/>
              <a:gd name="connsiteX32" fmla="*/ 214758 w 332854"/>
              <a:gd name="connsiteY32" fmla="*/ 4530 h 288924"/>
              <a:gd name="connsiteX33" fmla="*/ 236869 w 332854"/>
              <a:gd name="connsiteY33" fmla="*/ 0 h 288924"/>
              <a:gd name="connsiteX34" fmla="*/ 88490 w 332854"/>
              <a:gd name="connsiteY34" fmla="*/ 0 h 288924"/>
              <a:gd name="connsiteX35" fmla="*/ 90100 w 332854"/>
              <a:gd name="connsiteY35" fmla="*/ 0 h 288924"/>
              <a:gd name="connsiteX36" fmla="*/ 101374 w 332854"/>
              <a:gd name="connsiteY36" fmla="*/ 0 h 288924"/>
              <a:gd name="connsiteX37" fmla="*/ 131973 w 332854"/>
              <a:gd name="connsiteY37" fmla="*/ 0 h 288924"/>
              <a:gd name="connsiteX38" fmla="*/ 157539 w 332854"/>
              <a:gd name="connsiteY38" fmla="*/ 0 h 288924"/>
              <a:gd name="connsiteX39" fmla="*/ 191560 w 332854"/>
              <a:gd name="connsiteY39" fmla="*/ 0 h 288924"/>
              <a:gd name="connsiteX40" fmla="*/ 181504 w 332854"/>
              <a:gd name="connsiteY40" fmla="*/ 9059 h 288924"/>
              <a:gd name="connsiteX41" fmla="*/ 166421 w 332854"/>
              <a:gd name="connsiteY41" fmla="*/ 25666 h 288924"/>
              <a:gd name="connsiteX42" fmla="*/ 150332 w 332854"/>
              <a:gd name="connsiteY42" fmla="*/ 49319 h 288924"/>
              <a:gd name="connsiteX43" fmla="*/ 111617 w 332854"/>
              <a:gd name="connsiteY43" fmla="*/ 115748 h 288924"/>
              <a:gd name="connsiteX44" fmla="*/ 72903 w 332854"/>
              <a:gd name="connsiteY44" fmla="*/ 182178 h 288924"/>
              <a:gd name="connsiteX45" fmla="*/ 67373 w 332854"/>
              <a:gd name="connsiteY45" fmla="*/ 193250 h 288924"/>
              <a:gd name="connsiteX46" fmla="*/ 50278 w 332854"/>
              <a:gd name="connsiteY46" fmla="*/ 189727 h 288924"/>
              <a:gd name="connsiteX47" fmla="*/ 18603 w 332854"/>
              <a:gd name="connsiteY47" fmla="*/ 176643 h 288924"/>
              <a:gd name="connsiteX48" fmla="*/ 3520 w 332854"/>
              <a:gd name="connsiteY48" fmla="*/ 160035 h 288924"/>
              <a:gd name="connsiteX49" fmla="*/ 0 w 332854"/>
              <a:gd name="connsiteY49" fmla="*/ 153493 h 288924"/>
              <a:gd name="connsiteX50" fmla="*/ 2514 w 332854"/>
              <a:gd name="connsiteY50" fmla="*/ 148963 h 288924"/>
              <a:gd name="connsiteX51" fmla="*/ 88490 w 332854"/>
              <a:gd name="connsiteY51" fmla="*/ 0 h 2889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</a:cxnLst>
            <a:rect l="l" t="t" r="r" b="b"/>
            <a:pathLst>
              <a:path w="332854" h="288924">
                <a:moveTo>
                  <a:pt x="26189" y="199375"/>
                </a:moveTo>
                <a:cubicBezTo>
                  <a:pt x="29708" y="200884"/>
                  <a:pt x="34232" y="202394"/>
                  <a:pt x="38755" y="203399"/>
                </a:cubicBezTo>
                <a:cubicBezTo>
                  <a:pt x="44787" y="204909"/>
                  <a:pt x="57354" y="207927"/>
                  <a:pt x="60872" y="208430"/>
                </a:cubicBezTo>
                <a:cubicBezTo>
                  <a:pt x="72433" y="210442"/>
                  <a:pt x="82989" y="210442"/>
                  <a:pt x="89523" y="210442"/>
                </a:cubicBezTo>
                <a:cubicBezTo>
                  <a:pt x="89523" y="210442"/>
                  <a:pt x="89523" y="210442"/>
                  <a:pt x="166428" y="210442"/>
                </a:cubicBezTo>
                <a:cubicBezTo>
                  <a:pt x="166428" y="210442"/>
                  <a:pt x="166428" y="210442"/>
                  <a:pt x="243335" y="210442"/>
                </a:cubicBezTo>
                <a:cubicBezTo>
                  <a:pt x="246350" y="210442"/>
                  <a:pt x="250371" y="210442"/>
                  <a:pt x="255398" y="210442"/>
                </a:cubicBezTo>
                <a:cubicBezTo>
                  <a:pt x="257408" y="216480"/>
                  <a:pt x="260927" y="226038"/>
                  <a:pt x="260927" y="226542"/>
                </a:cubicBezTo>
                <a:cubicBezTo>
                  <a:pt x="265451" y="238616"/>
                  <a:pt x="266959" y="250186"/>
                  <a:pt x="265953" y="260752"/>
                </a:cubicBezTo>
                <a:cubicBezTo>
                  <a:pt x="264446" y="270814"/>
                  <a:pt x="260927" y="277857"/>
                  <a:pt x="258916" y="282384"/>
                </a:cubicBezTo>
                <a:lnTo>
                  <a:pt x="254895" y="288924"/>
                </a:lnTo>
                <a:lnTo>
                  <a:pt x="253513" y="288924"/>
                </a:lnTo>
                <a:lnTo>
                  <a:pt x="243837" y="288924"/>
                </a:lnTo>
                <a:lnTo>
                  <a:pt x="217573" y="288924"/>
                </a:lnTo>
                <a:lnTo>
                  <a:pt x="166428" y="288924"/>
                </a:lnTo>
                <a:lnTo>
                  <a:pt x="165046" y="288924"/>
                </a:lnTo>
                <a:lnTo>
                  <a:pt x="155370" y="288924"/>
                </a:lnTo>
                <a:lnTo>
                  <a:pt x="129106" y="288924"/>
                </a:lnTo>
                <a:lnTo>
                  <a:pt x="77962" y="288924"/>
                </a:lnTo>
                <a:cubicBezTo>
                  <a:pt x="77962" y="288924"/>
                  <a:pt x="77962" y="288924"/>
                  <a:pt x="26189" y="199375"/>
                </a:cubicBezTo>
                <a:close/>
                <a:moveTo>
                  <a:pt x="236869" y="0"/>
                </a:moveTo>
                <a:lnTo>
                  <a:pt x="237811" y="0"/>
                </a:lnTo>
                <a:lnTo>
                  <a:pt x="244408" y="0"/>
                </a:lnTo>
                <a:cubicBezTo>
                  <a:pt x="244408" y="0"/>
                  <a:pt x="244408" y="0"/>
                  <a:pt x="332854" y="153506"/>
                </a:cubicBezTo>
                <a:cubicBezTo>
                  <a:pt x="332854" y="153506"/>
                  <a:pt x="332854" y="153506"/>
                  <a:pt x="281595" y="243093"/>
                </a:cubicBezTo>
                <a:cubicBezTo>
                  <a:pt x="280590" y="239066"/>
                  <a:pt x="280088" y="234536"/>
                  <a:pt x="279082" y="230008"/>
                </a:cubicBezTo>
                <a:cubicBezTo>
                  <a:pt x="277072" y="223968"/>
                  <a:pt x="273053" y="211385"/>
                  <a:pt x="272047" y="208366"/>
                </a:cubicBezTo>
                <a:cubicBezTo>
                  <a:pt x="268026" y="197293"/>
                  <a:pt x="262499" y="188234"/>
                  <a:pt x="259483" y="182194"/>
                </a:cubicBezTo>
                <a:cubicBezTo>
                  <a:pt x="246418" y="159546"/>
                  <a:pt x="221290" y="115759"/>
                  <a:pt x="221290" y="115759"/>
                </a:cubicBezTo>
                <a:cubicBezTo>
                  <a:pt x="221290" y="115759"/>
                  <a:pt x="195661" y="71972"/>
                  <a:pt x="182595" y="49323"/>
                </a:cubicBezTo>
                <a:cubicBezTo>
                  <a:pt x="181088" y="46304"/>
                  <a:pt x="179078" y="42780"/>
                  <a:pt x="176565" y="38754"/>
                </a:cubicBezTo>
                <a:cubicBezTo>
                  <a:pt x="180585" y="33722"/>
                  <a:pt x="187118" y="26675"/>
                  <a:pt x="187620" y="25668"/>
                </a:cubicBezTo>
                <a:cubicBezTo>
                  <a:pt x="195661" y="16105"/>
                  <a:pt x="205209" y="9060"/>
                  <a:pt x="214758" y="4530"/>
                </a:cubicBezTo>
                <a:cubicBezTo>
                  <a:pt x="223804" y="1007"/>
                  <a:pt x="231844" y="0"/>
                  <a:pt x="236869" y="0"/>
                </a:cubicBezTo>
                <a:close/>
                <a:moveTo>
                  <a:pt x="88490" y="0"/>
                </a:moveTo>
                <a:lnTo>
                  <a:pt x="90100" y="0"/>
                </a:lnTo>
                <a:lnTo>
                  <a:pt x="101374" y="0"/>
                </a:lnTo>
                <a:lnTo>
                  <a:pt x="131973" y="0"/>
                </a:lnTo>
                <a:lnTo>
                  <a:pt x="157539" y="0"/>
                </a:lnTo>
                <a:lnTo>
                  <a:pt x="191560" y="0"/>
                </a:lnTo>
                <a:cubicBezTo>
                  <a:pt x="188040" y="2517"/>
                  <a:pt x="185024" y="5535"/>
                  <a:pt x="181504" y="9059"/>
                </a:cubicBezTo>
                <a:cubicBezTo>
                  <a:pt x="176980" y="13084"/>
                  <a:pt x="168934" y="22646"/>
                  <a:pt x="166421" y="25666"/>
                </a:cubicBezTo>
                <a:cubicBezTo>
                  <a:pt x="158879" y="34725"/>
                  <a:pt x="153349" y="43280"/>
                  <a:pt x="150332" y="49319"/>
                </a:cubicBezTo>
                <a:cubicBezTo>
                  <a:pt x="136756" y="71965"/>
                  <a:pt x="111617" y="115748"/>
                  <a:pt x="111617" y="115748"/>
                </a:cubicBezTo>
                <a:cubicBezTo>
                  <a:pt x="111617" y="115748"/>
                  <a:pt x="86479" y="159532"/>
                  <a:pt x="72903" y="182178"/>
                </a:cubicBezTo>
                <a:cubicBezTo>
                  <a:pt x="71395" y="185198"/>
                  <a:pt x="69886" y="188721"/>
                  <a:pt x="67373" y="193250"/>
                </a:cubicBezTo>
                <a:cubicBezTo>
                  <a:pt x="60837" y="191740"/>
                  <a:pt x="51284" y="190230"/>
                  <a:pt x="50278" y="189727"/>
                </a:cubicBezTo>
                <a:cubicBezTo>
                  <a:pt x="37709" y="187715"/>
                  <a:pt x="27150" y="183185"/>
                  <a:pt x="18603" y="176643"/>
                </a:cubicBezTo>
                <a:cubicBezTo>
                  <a:pt x="10558" y="170604"/>
                  <a:pt x="6033" y="164062"/>
                  <a:pt x="3520" y="160035"/>
                </a:cubicBezTo>
                <a:cubicBezTo>
                  <a:pt x="3520" y="160035"/>
                  <a:pt x="3520" y="160035"/>
                  <a:pt x="0" y="153493"/>
                </a:cubicBezTo>
                <a:cubicBezTo>
                  <a:pt x="0" y="153493"/>
                  <a:pt x="0" y="153493"/>
                  <a:pt x="2514" y="148963"/>
                </a:cubicBezTo>
                <a:cubicBezTo>
                  <a:pt x="2514" y="148963"/>
                  <a:pt x="2514" y="148963"/>
                  <a:pt x="88490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r>
              <a:rPr lang="en-US" noProof="0"/>
              <a:t>Click icon to add SmartArt graphic</a:t>
            </a:r>
            <a:endParaRPr lang="de-DE" noProof="0" dirty="0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ACF53ED3-38A7-4F5B-8F74-CF94F11AE3B5}"/>
              </a:ext>
            </a:extLst>
          </p:cNvPr>
          <p:cNvSpPr>
            <a:spLocks noGrp="1"/>
          </p:cNvSpPr>
          <p:nvPr>
            <p:ph type="dt" sz="half" idx="20"/>
          </p:nvPr>
        </p:nvSpPr>
        <p:spPr bwMode="gray"/>
        <p:txBody>
          <a:bodyPr/>
          <a:lstStyle/>
          <a:p>
            <a:fld id="{354587EC-2A70-4AA8-942F-DD71A2B82C88}" type="datetime1">
              <a:rPr lang="de-DE" noProof="0" smtClean="0"/>
              <a:t>22.10.2023</a:t>
            </a:fld>
            <a:endParaRPr lang="de-DE" sz="800" noProof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FDB4A587-2B48-47E5-8FC8-FCC736BF5F61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 bwMode="gray"/>
        <p:txBody>
          <a:bodyPr/>
          <a:lstStyle/>
          <a:p>
            <a:pPr algn="ctr"/>
            <a:r>
              <a:rPr lang="de-DE" noProof="0"/>
              <a:t>Commerzbank AG, Max Mustermann, GM-C Brand Management 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359E580F-6707-42B3-AB53-A8B38B0BBB54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 bwMode="gray"/>
        <p:txBody>
          <a:bodyPr/>
          <a:lstStyle/>
          <a:p>
            <a:fld id="{CAEFDB47-5D1C-45E7-8BD0-EF74349B00F7}" type="slidenum">
              <a:rPr lang="de-DE" noProof="0" smtClean="0"/>
              <a:pPr/>
              <a:t>‹#›</a:t>
            </a:fld>
            <a:endParaRPr lang="de-DE" b="1" noProof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4CF59287-810C-47D8-BAD6-E90E56A6D618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1722436" y="836613"/>
            <a:ext cx="5094289" cy="574675"/>
          </a:xfrm>
        </p:spPr>
        <p:txBody>
          <a:bodyPr tIns="144000" rIns="0"/>
          <a:lstStyle>
            <a:lvl1pPr>
              <a:defRPr sz="12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69702073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ADC53E4D-953C-F945-E6E8-2F38F8993EFA}"/>
              </a:ext>
            </a:extLst>
          </p:cNvPr>
          <p:cNvSpPr/>
          <p:nvPr userDrawn="1"/>
        </p:nvSpPr>
        <p:spPr bwMode="gray">
          <a:xfrm>
            <a:off x="11438361" y="239316"/>
            <a:ext cx="467915" cy="40124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lnSpc>
                <a:spcPct val="110000"/>
              </a:lnSpc>
              <a:spcBef>
                <a:spcPts val="600"/>
              </a:spcBef>
            </a:pPr>
            <a:endParaRPr lang="de-CH" sz="1200" b="1" dirty="0" err="1">
              <a:solidFill>
                <a:schemeClr val="bg1"/>
              </a:solidFill>
            </a:endParaRPr>
          </a:p>
        </p:txBody>
      </p:sp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3F34628A-9FDF-4CC5-8075-404915653DB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038504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3F34628A-9FDF-4CC5-8075-404915653DB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Bildplatzhalter 8">
            <a:extLst>
              <a:ext uri="{FF2B5EF4-FFF2-40B4-BE49-F238E27FC236}">
                <a16:creationId xmlns:a16="http://schemas.microsoft.com/office/drawing/2014/main" id="{6DB4EBAE-7EE0-4A7F-BCB2-9B2864E73D23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8112124" y="0"/>
            <a:ext cx="4079875" cy="6453188"/>
          </a:xfrm>
          <a:noFill/>
        </p:spPr>
        <p:txBody>
          <a:bodyPr lIns="0" tIns="0" rIns="0" bIns="576000" anchor="b"/>
          <a:lstStyle>
            <a:lvl1pPr marL="0" indent="0" algn="ctr">
              <a:buNone/>
              <a:defRPr sz="800">
                <a:solidFill>
                  <a:schemeClr val="accent4"/>
                </a:solidFill>
              </a:defRPr>
            </a:lvl1pPr>
          </a:lstStyle>
          <a:p>
            <a:r>
              <a:rPr lang="de-DE" noProof="0"/>
              <a:t>Fügen Sie ein Bild über Klicken auf das Symbol ein. </a:t>
            </a:r>
            <a:br>
              <a:rPr lang="de-DE" noProof="0"/>
            </a:br>
            <a:br>
              <a:rPr lang="de-DE" noProof="0"/>
            </a:br>
            <a:r>
              <a:rPr lang="de-DE" noProof="0"/>
              <a:t>Alternativ kopieren Sie ein Bild in die Zwischenablage, </a:t>
            </a:r>
            <a:br>
              <a:rPr lang="de-DE" noProof="0"/>
            </a:br>
            <a:r>
              <a:rPr lang="de-DE" noProof="0"/>
              <a:t>wählen Sie den Platzhalter an und klicken Sie einfügen. </a:t>
            </a:r>
            <a:br>
              <a:rPr lang="de-DE" noProof="0"/>
            </a:br>
            <a:br>
              <a:rPr lang="de-DE" noProof="0"/>
            </a:br>
            <a:r>
              <a:rPr lang="de-DE" noProof="0"/>
              <a:t>Achten Sie darauf, dass das Logo im Vordergrund ist und </a:t>
            </a:r>
            <a:br>
              <a:rPr lang="de-DE" noProof="0"/>
            </a:br>
            <a:r>
              <a:rPr lang="de-DE" noProof="0"/>
              <a:t>wählen Sie bei hellen Bildern Petrol als Logofarbe.</a:t>
            </a:r>
          </a:p>
        </p:txBody>
      </p:sp>
      <p:sp>
        <p:nvSpPr>
          <p:cNvPr id="12" name="SmartArt-Platzhalter 11">
            <a:extLst>
              <a:ext uri="{FF2B5EF4-FFF2-40B4-BE49-F238E27FC236}">
                <a16:creationId xmlns:a16="http://schemas.microsoft.com/office/drawing/2014/main" id="{90E25250-96E1-4A78-9EE6-8AD9112BF777}"/>
              </a:ext>
            </a:extLst>
          </p:cNvPr>
          <p:cNvSpPr>
            <a:spLocks noGrp="1"/>
          </p:cNvSpPr>
          <p:nvPr>
            <p:ph type="dgm" sz="quarter" idx="15"/>
          </p:nvPr>
        </p:nvSpPr>
        <p:spPr bwMode="gray">
          <a:xfrm>
            <a:off x="11522271" y="260351"/>
            <a:ext cx="332854" cy="288924"/>
          </a:xfrm>
          <a:custGeom>
            <a:avLst/>
            <a:gdLst>
              <a:gd name="connsiteX0" fmla="*/ 26189 w 332854"/>
              <a:gd name="connsiteY0" fmla="*/ 199375 h 288924"/>
              <a:gd name="connsiteX1" fmla="*/ 38755 w 332854"/>
              <a:gd name="connsiteY1" fmla="*/ 203399 h 288924"/>
              <a:gd name="connsiteX2" fmla="*/ 60872 w 332854"/>
              <a:gd name="connsiteY2" fmla="*/ 208430 h 288924"/>
              <a:gd name="connsiteX3" fmla="*/ 89523 w 332854"/>
              <a:gd name="connsiteY3" fmla="*/ 210442 h 288924"/>
              <a:gd name="connsiteX4" fmla="*/ 166428 w 332854"/>
              <a:gd name="connsiteY4" fmla="*/ 210442 h 288924"/>
              <a:gd name="connsiteX5" fmla="*/ 243335 w 332854"/>
              <a:gd name="connsiteY5" fmla="*/ 210442 h 288924"/>
              <a:gd name="connsiteX6" fmla="*/ 255398 w 332854"/>
              <a:gd name="connsiteY6" fmla="*/ 210442 h 288924"/>
              <a:gd name="connsiteX7" fmla="*/ 260927 w 332854"/>
              <a:gd name="connsiteY7" fmla="*/ 226542 h 288924"/>
              <a:gd name="connsiteX8" fmla="*/ 265953 w 332854"/>
              <a:gd name="connsiteY8" fmla="*/ 260752 h 288924"/>
              <a:gd name="connsiteX9" fmla="*/ 258916 w 332854"/>
              <a:gd name="connsiteY9" fmla="*/ 282384 h 288924"/>
              <a:gd name="connsiteX10" fmla="*/ 254895 w 332854"/>
              <a:gd name="connsiteY10" fmla="*/ 288924 h 288924"/>
              <a:gd name="connsiteX11" fmla="*/ 253513 w 332854"/>
              <a:gd name="connsiteY11" fmla="*/ 288924 h 288924"/>
              <a:gd name="connsiteX12" fmla="*/ 243837 w 332854"/>
              <a:gd name="connsiteY12" fmla="*/ 288924 h 288924"/>
              <a:gd name="connsiteX13" fmla="*/ 217573 w 332854"/>
              <a:gd name="connsiteY13" fmla="*/ 288924 h 288924"/>
              <a:gd name="connsiteX14" fmla="*/ 166428 w 332854"/>
              <a:gd name="connsiteY14" fmla="*/ 288924 h 288924"/>
              <a:gd name="connsiteX15" fmla="*/ 165046 w 332854"/>
              <a:gd name="connsiteY15" fmla="*/ 288924 h 288924"/>
              <a:gd name="connsiteX16" fmla="*/ 155370 w 332854"/>
              <a:gd name="connsiteY16" fmla="*/ 288924 h 288924"/>
              <a:gd name="connsiteX17" fmla="*/ 129106 w 332854"/>
              <a:gd name="connsiteY17" fmla="*/ 288924 h 288924"/>
              <a:gd name="connsiteX18" fmla="*/ 77962 w 332854"/>
              <a:gd name="connsiteY18" fmla="*/ 288924 h 288924"/>
              <a:gd name="connsiteX19" fmla="*/ 26189 w 332854"/>
              <a:gd name="connsiteY19" fmla="*/ 199375 h 288924"/>
              <a:gd name="connsiteX20" fmla="*/ 236869 w 332854"/>
              <a:gd name="connsiteY20" fmla="*/ 0 h 288924"/>
              <a:gd name="connsiteX21" fmla="*/ 237811 w 332854"/>
              <a:gd name="connsiteY21" fmla="*/ 0 h 288924"/>
              <a:gd name="connsiteX22" fmla="*/ 244408 w 332854"/>
              <a:gd name="connsiteY22" fmla="*/ 0 h 288924"/>
              <a:gd name="connsiteX23" fmla="*/ 332854 w 332854"/>
              <a:gd name="connsiteY23" fmla="*/ 153506 h 288924"/>
              <a:gd name="connsiteX24" fmla="*/ 281595 w 332854"/>
              <a:gd name="connsiteY24" fmla="*/ 243093 h 288924"/>
              <a:gd name="connsiteX25" fmla="*/ 279082 w 332854"/>
              <a:gd name="connsiteY25" fmla="*/ 230008 h 288924"/>
              <a:gd name="connsiteX26" fmla="*/ 272047 w 332854"/>
              <a:gd name="connsiteY26" fmla="*/ 208366 h 288924"/>
              <a:gd name="connsiteX27" fmla="*/ 259483 w 332854"/>
              <a:gd name="connsiteY27" fmla="*/ 182194 h 288924"/>
              <a:gd name="connsiteX28" fmla="*/ 221290 w 332854"/>
              <a:gd name="connsiteY28" fmla="*/ 115759 h 288924"/>
              <a:gd name="connsiteX29" fmla="*/ 182595 w 332854"/>
              <a:gd name="connsiteY29" fmla="*/ 49323 h 288924"/>
              <a:gd name="connsiteX30" fmla="*/ 176565 w 332854"/>
              <a:gd name="connsiteY30" fmla="*/ 38754 h 288924"/>
              <a:gd name="connsiteX31" fmla="*/ 187620 w 332854"/>
              <a:gd name="connsiteY31" fmla="*/ 25668 h 288924"/>
              <a:gd name="connsiteX32" fmla="*/ 214758 w 332854"/>
              <a:gd name="connsiteY32" fmla="*/ 4530 h 288924"/>
              <a:gd name="connsiteX33" fmla="*/ 236869 w 332854"/>
              <a:gd name="connsiteY33" fmla="*/ 0 h 288924"/>
              <a:gd name="connsiteX34" fmla="*/ 88490 w 332854"/>
              <a:gd name="connsiteY34" fmla="*/ 0 h 288924"/>
              <a:gd name="connsiteX35" fmla="*/ 90100 w 332854"/>
              <a:gd name="connsiteY35" fmla="*/ 0 h 288924"/>
              <a:gd name="connsiteX36" fmla="*/ 101374 w 332854"/>
              <a:gd name="connsiteY36" fmla="*/ 0 h 288924"/>
              <a:gd name="connsiteX37" fmla="*/ 131973 w 332854"/>
              <a:gd name="connsiteY37" fmla="*/ 0 h 288924"/>
              <a:gd name="connsiteX38" fmla="*/ 157539 w 332854"/>
              <a:gd name="connsiteY38" fmla="*/ 0 h 288924"/>
              <a:gd name="connsiteX39" fmla="*/ 191560 w 332854"/>
              <a:gd name="connsiteY39" fmla="*/ 0 h 288924"/>
              <a:gd name="connsiteX40" fmla="*/ 181504 w 332854"/>
              <a:gd name="connsiteY40" fmla="*/ 9059 h 288924"/>
              <a:gd name="connsiteX41" fmla="*/ 166421 w 332854"/>
              <a:gd name="connsiteY41" fmla="*/ 25666 h 288924"/>
              <a:gd name="connsiteX42" fmla="*/ 150332 w 332854"/>
              <a:gd name="connsiteY42" fmla="*/ 49319 h 288924"/>
              <a:gd name="connsiteX43" fmla="*/ 111617 w 332854"/>
              <a:gd name="connsiteY43" fmla="*/ 115748 h 288924"/>
              <a:gd name="connsiteX44" fmla="*/ 72903 w 332854"/>
              <a:gd name="connsiteY44" fmla="*/ 182178 h 288924"/>
              <a:gd name="connsiteX45" fmla="*/ 67373 w 332854"/>
              <a:gd name="connsiteY45" fmla="*/ 193250 h 288924"/>
              <a:gd name="connsiteX46" fmla="*/ 50278 w 332854"/>
              <a:gd name="connsiteY46" fmla="*/ 189727 h 288924"/>
              <a:gd name="connsiteX47" fmla="*/ 18603 w 332854"/>
              <a:gd name="connsiteY47" fmla="*/ 176643 h 288924"/>
              <a:gd name="connsiteX48" fmla="*/ 3520 w 332854"/>
              <a:gd name="connsiteY48" fmla="*/ 160035 h 288924"/>
              <a:gd name="connsiteX49" fmla="*/ 0 w 332854"/>
              <a:gd name="connsiteY49" fmla="*/ 153493 h 288924"/>
              <a:gd name="connsiteX50" fmla="*/ 2514 w 332854"/>
              <a:gd name="connsiteY50" fmla="*/ 148963 h 288924"/>
              <a:gd name="connsiteX51" fmla="*/ 88490 w 332854"/>
              <a:gd name="connsiteY51" fmla="*/ 0 h 2889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</a:cxnLst>
            <a:rect l="l" t="t" r="r" b="b"/>
            <a:pathLst>
              <a:path w="332854" h="288924">
                <a:moveTo>
                  <a:pt x="26189" y="199375"/>
                </a:moveTo>
                <a:cubicBezTo>
                  <a:pt x="29708" y="200884"/>
                  <a:pt x="34232" y="202394"/>
                  <a:pt x="38755" y="203399"/>
                </a:cubicBezTo>
                <a:cubicBezTo>
                  <a:pt x="44787" y="204909"/>
                  <a:pt x="57354" y="207927"/>
                  <a:pt x="60872" y="208430"/>
                </a:cubicBezTo>
                <a:cubicBezTo>
                  <a:pt x="72433" y="210442"/>
                  <a:pt x="82989" y="210442"/>
                  <a:pt x="89523" y="210442"/>
                </a:cubicBezTo>
                <a:cubicBezTo>
                  <a:pt x="89523" y="210442"/>
                  <a:pt x="89523" y="210442"/>
                  <a:pt x="166428" y="210442"/>
                </a:cubicBezTo>
                <a:cubicBezTo>
                  <a:pt x="166428" y="210442"/>
                  <a:pt x="166428" y="210442"/>
                  <a:pt x="243335" y="210442"/>
                </a:cubicBezTo>
                <a:cubicBezTo>
                  <a:pt x="246350" y="210442"/>
                  <a:pt x="250371" y="210442"/>
                  <a:pt x="255398" y="210442"/>
                </a:cubicBezTo>
                <a:cubicBezTo>
                  <a:pt x="257408" y="216480"/>
                  <a:pt x="260927" y="226038"/>
                  <a:pt x="260927" y="226542"/>
                </a:cubicBezTo>
                <a:cubicBezTo>
                  <a:pt x="265451" y="238616"/>
                  <a:pt x="266959" y="250186"/>
                  <a:pt x="265953" y="260752"/>
                </a:cubicBezTo>
                <a:cubicBezTo>
                  <a:pt x="264446" y="270814"/>
                  <a:pt x="260927" y="277857"/>
                  <a:pt x="258916" y="282384"/>
                </a:cubicBezTo>
                <a:lnTo>
                  <a:pt x="254895" y="288924"/>
                </a:lnTo>
                <a:lnTo>
                  <a:pt x="253513" y="288924"/>
                </a:lnTo>
                <a:lnTo>
                  <a:pt x="243837" y="288924"/>
                </a:lnTo>
                <a:lnTo>
                  <a:pt x="217573" y="288924"/>
                </a:lnTo>
                <a:lnTo>
                  <a:pt x="166428" y="288924"/>
                </a:lnTo>
                <a:lnTo>
                  <a:pt x="165046" y="288924"/>
                </a:lnTo>
                <a:lnTo>
                  <a:pt x="155370" y="288924"/>
                </a:lnTo>
                <a:lnTo>
                  <a:pt x="129106" y="288924"/>
                </a:lnTo>
                <a:lnTo>
                  <a:pt x="77962" y="288924"/>
                </a:lnTo>
                <a:cubicBezTo>
                  <a:pt x="77962" y="288924"/>
                  <a:pt x="77962" y="288924"/>
                  <a:pt x="26189" y="199375"/>
                </a:cubicBezTo>
                <a:close/>
                <a:moveTo>
                  <a:pt x="236869" y="0"/>
                </a:moveTo>
                <a:lnTo>
                  <a:pt x="237811" y="0"/>
                </a:lnTo>
                <a:lnTo>
                  <a:pt x="244408" y="0"/>
                </a:lnTo>
                <a:cubicBezTo>
                  <a:pt x="244408" y="0"/>
                  <a:pt x="244408" y="0"/>
                  <a:pt x="332854" y="153506"/>
                </a:cubicBezTo>
                <a:cubicBezTo>
                  <a:pt x="332854" y="153506"/>
                  <a:pt x="332854" y="153506"/>
                  <a:pt x="281595" y="243093"/>
                </a:cubicBezTo>
                <a:cubicBezTo>
                  <a:pt x="280590" y="239066"/>
                  <a:pt x="280088" y="234536"/>
                  <a:pt x="279082" y="230008"/>
                </a:cubicBezTo>
                <a:cubicBezTo>
                  <a:pt x="277072" y="223968"/>
                  <a:pt x="273053" y="211385"/>
                  <a:pt x="272047" y="208366"/>
                </a:cubicBezTo>
                <a:cubicBezTo>
                  <a:pt x="268026" y="197293"/>
                  <a:pt x="262499" y="188234"/>
                  <a:pt x="259483" y="182194"/>
                </a:cubicBezTo>
                <a:cubicBezTo>
                  <a:pt x="246418" y="159546"/>
                  <a:pt x="221290" y="115759"/>
                  <a:pt x="221290" y="115759"/>
                </a:cubicBezTo>
                <a:cubicBezTo>
                  <a:pt x="221290" y="115759"/>
                  <a:pt x="195661" y="71972"/>
                  <a:pt x="182595" y="49323"/>
                </a:cubicBezTo>
                <a:cubicBezTo>
                  <a:pt x="181088" y="46304"/>
                  <a:pt x="179078" y="42780"/>
                  <a:pt x="176565" y="38754"/>
                </a:cubicBezTo>
                <a:cubicBezTo>
                  <a:pt x="180585" y="33722"/>
                  <a:pt x="187118" y="26675"/>
                  <a:pt x="187620" y="25668"/>
                </a:cubicBezTo>
                <a:cubicBezTo>
                  <a:pt x="195661" y="16105"/>
                  <a:pt x="205209" y="9060"/>
                  <a:pt x="214758" y="4530"/>
                </a:cubicBezTo>
                <a:cubicBezTo>
                  <a:pt x="223804" y="1007"/>
                  <a:pt x="231844" y="0"/>
                  <a:pt x="236869" y="0"/>
                </a:cubicBezTo>
                <a:close/>
                <a:moveTo>
                  <a:pt x="88490" y="0"/>
                </a:moveTo>
                <a:lnTo>
                  <a:pt x="90100" y="0"/>
                </a:lnTo>
                <a:lnTo>
                  <a:pt x="101374" y="0"/>
                </a:lnTo>
                <a:lnTo>
                  <a:pt x="131973" y="0"/>
                </a:lnTo>
                <a:lnTo>
                  <a:pt x="157539" y="0"/>
                </a:lnTo>
                <a:lnTo>
                  <a:pt x="191560" y="0"/>
                </a:lnTo>
                <a:cubicBezTo>
                  <a:pt x="188040" y="2517"/>
                  <a:pt x="185024" y="5535"/>
                  <a:pt x="181504" y="9059"/>
                </a:cubicBezTo>
                <a:cubicBezTo>
                  <a:pt x="176980" y="13084"/>
                  <a:pt x="168934" y="22646"/>
                  <a:pt x="166421" y="25666"/>
                </a:cubicBezTo>
                <a:cubicBezTo>
                  <a:pt x="158879" y="34725"/>
                  <a:pt x="153349" y="43280"/>
                  <a:pt x="150332" y="49319"/>
                </a:cubicBezTo>
                <a:cubicBezTo>
                  <a:pt x="136756" y="71965"/>
                  <a:pt x="111617" y="115748"/>
                  <a:pt x="111617" y="115748"/>
                </a:cubicBezTo>
                <a:cubicBezTo>
                  <a:pt x="111617" y="115748"/>
                  <a:pt x="86479" y="159532"/>
                  <a:pt x="72903" y="182178"/>
                </a:cubicBezTo>
                <a:cubicBezTo>
                  <a:pt x="71395" y="185198"/>
                  <a:pt x="69886" y="188721"/>
                  <a:pt x="67373" y="193250"/>
                </a:cubicBezTo>
                <a:cubicBezTo>
                  <a:pt x="60837" y="191740"/>
                  <a:pt x="51284" y="190230"/>
                  <a:pt x="50278" y="189727"/>
                </a:cubicBezTo>
                <a:cubicBezTo>
                  <a:pt x="37709" y="187715"/>
                  <a:pt x="27150" y="183185"/>
                  <a:pt x="18603" y="176643"/>
                </a:cubicBezTo>
                <a:cubicBezTo>
                  <a:pt x="10558" y="170604"/>
                  <a:pt x="6033" y="164062"/>
                  <a:pt x="3520" y="160035"/>
                </a:cubicBezTo>
                <a:cubicBezTo>
                  <a:pt x="3520" y="160035"/>
                  <a:pt x="3520" y="160035"/>
                  <a:pt x="0" y="153493"/>
                </a:cubicBezTo>
                <a:cubicBezTo>
                  <a:pt x="0" y="153493"/>
                  <a:pt x="0" y="153493"/>
                  <a:pt x="2514" y="148963"/>
                </a:cubicBezTo>
                <a:cubicBezTo>
                  <a:pt x="2514" y="148963"/>
                  <a:pt x="2514" y="148963"/>
                  <a:pt x="88490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r>
              <a:rPr lang="en-US" noProof="0"/>
              <a:t>Click icon to add SmartArt graphic</a:t>
            </a:r>
            <a:endParaRPr lang="de-DE" noProof="0" dirty="0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221DA9E7-F5BE-4A84-8E7B-D736D9ED9355}"/>
              </a:ext>
            </a:extLst>
          </p:cNvPr>
          <p:cNvSpPr>
            <a:spLocks noGrp="1"/>
          </p:cNvSpPr>
          <p:nvPr>
            <p:ph type="dt" sz="half" idx="16"/>
          </p:nvPr>
        </p:nvSpPr>
        <p:spPr bwMode="gray"/>
        <p:txBody>
          <a:bodyPr/>
          <a:lstStyle/>
          <a:p>
            <a:fld id="{8224E9D3-4CC9-4995-B631-E90B94975326}" type="datetime1">
              <a:rPr lang="de-DE" noProof="0" smtClean="0"/>
              <a:t>22.10.2023</a:t>
            </a:fld>
            <a:endParaRPr lang="de-DE" sz="800" noProof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2384B9A-4174-4D9D-9EF8-E59B4C951536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 bwMode="gray"/>
        <p:txBody>
          <a:bodyPr/>
          <a:lstStyle/>
          <a:p>
            <a:pPr algn="ctr"/>
            <a:r>
              <a:rPr lang="de-DE" noProof="0"/>
              <a:t>Commerzbank AG, Max Mustermann, GM-C Brand Management 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61FA5FD0-3E85-4292-A0CE-868AE0007228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 bwMode="gray"/>
        <p:txBody>
          <a:bodyPr/>
          <a:lstStyle/>
          <a:p>
            <a:fld id="{CAEFDB47-5D1C-45E7-8BD0-EF74349B00F7}" type="slidenum">
              <a:rPr lang="de-DE" noProof="0" smtClean="0"/>
              <a:pPr/>
              <a:t>‹#›</a:t>
            </a:fld>
            <a:endParaRPr lang="de-DE" b="1" noProof="0"/>
          </a:p>
        </p:txBody>
      </p:sp>
      <p:sp>
        <p:nvSpPr>
          <p:cNvPr id="11" name="Textplatzhalter 6">
            <a:extLst>
              <a:ext uri="{FF2B5EF4-FFF2-40B4-BE49-F238E27FC236}">
                <a16:creationId xmlns:a16="http://schemas.microsoft.com/office/drawing/2014/main" id="{F061FEFF-B2E2-4D83-907B-D9C5A33FCC4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336550" y="1412876"/>
            <a:ext cx="7631114" cy="3311524"/>
          </a:xfrm>
        </p:spPr>
        <p:txBody>
          <a:bodyPr rIns="0"/>
          <a:lstStyle>
            <a:lvl1pPr marL="0" indent="0">
              <a:lnSpc>
                <a:spcPct val="90000"/>
              </a:lnSpc>
              <a:spcBef>
                <a:spcPts val="1200"/>
              </a:spcBef>
              <a:spcAft>
                <a:spcPts val="1200"/>
              </a:spcAft>
              <a:buNone/>
              <a:defRPr sz="3200" b="1">
                <a:solidFill>
                  <a:schemeClr val="tx1"/>
                </a:solidFill>
              </a:defRPr>
            </a:lvl1pPr>
            <a:lvl2pPr marL="0" indent="0">
              <a:spcBef>
                <a:spcPts val="600"/>
              </a:spcBef>
              <a:spcAft>
                <a:spcPts val="0"/>
              </a:spcAft>
              <a:buClrTx/>
              <a:buNone/>
              <a:defRPr>
                <a:solidFill>
                  <a:schemeClr val="tx1"/>
                </a:solidFill>
              </a:defRPr>
            </a:lvl2pPr>
            <a:lvl3pPr marL="180000" indent="-180000">
              <a:buClr>
                <a:schemeClr val="accent2"/>
              </a:buCl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 marL="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</a:defRPr>
            </a:lvl5pPr>
            <a:lvl6pPr marL="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</a:defRPr>
            </a:lvl6pPr>
            <a:lvl7pPr marL="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</a:defRPr>
            </a:lvl7pPr>
            <a:lvl8pPr marL="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</a:defRPr>
            </a:lvl8pPr>
            <a:lvl9pPr marL="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de-DE" noProof="0" dirty="0"/>
          </a:p>
        </p:txBody>
      </p:sp>
      <p:sp>
        <p:nvSpPr>
          <p:cNvPr id="13" name="Titel 4">
            <a:extLst>
              <a:ext uri="{FF2B5EF4-FFF2-40B4-BE49-F238E27FC236}">
                <a16:creationId xmlns:a16="http://schemas.microsoft.com/office/drawing/2014/main" id="{BAC0196D-514D-46A6-A03F-5BB2BFFCCCED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336550" y="836613"/>
            <a:ext cx="5688013" cy="574675"/>
          </a:xfrm>
        </p:spPr>
        <p:txBody>
          <a:bodyPr tIns="144000" rIns="0"/>
          <a:lstStyle>
            <a:lvl1pPr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763413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2A91C57D-0163-4143-8F9B-841FA758B9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94444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2A91C57D-0163-4143-8F9B-841FA758B9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B791BBA6-21FB-476D-917A-6AD66B6FA606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de-DE" noProof="0" dirty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9671DDE5-237D-488D-8361-D82FE9E2FA41}"/>
              </a:ext>
            </a:extLst>
          </p:cNvPr>
          <p:cNvSpPr>
            <a:spLocks noGrp="1"/>
          </p:cNvSpPr>
          <p:nvPr>
            <p:ph type="dt" sz="half" idx="18"/>
          </p:nvPr>
        </p:nvSpPr>
        <p:spPr bwMode="gray"/>
        <p:txBody>
          <a:bodyPr/>
          <a:lstStyle/>
          <a:p>
            <a:fld id="{8CE7C704-0CF5-48D2-9F6E-1BFEAD408EDD}" type="datetime1">
              <a:rPr lang="de-DE" noProof="0" smtClean="0"/>
              <a:t>22.10.2023</a:t>
            </a:fld>
            <a:endParaRPr lang="de-DE" sz="800" noProof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F3E06A32-B2D9-41C6-BFF1-11EC8ABCC24A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 bwMode="gray"/>
        <p:txBody>
          <a:bodyPr/>
          <a:lstStyle/>
          <a:p>
            <a:pPr algn="ctr"/>
            <a:r>
              <a:rPr lang="de-DE" noProof="0"/>
              <a:t>Commerzbank AG, Max Mustermann, GM-C Brand Management 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7ECBDD58-EB8B-45A7-A68A-501642F55627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 bwMode="gray"/>
        <p:txBody>
          <a:bodyPr/>
          <a:lstStyle/>
          <a:p>
            <a:fld id="{CAEFDB47-5D1C-45E7-8BD0-EF74349B00F7}" type="slidenum">
              <a:rPr lang="de-DE" noProof="0" smtClean="0"/>
              <a:pPr/>
              <a:t>‹#›</a:t>
            </a:fld>
            <a:endParaRPr lang="de-DE" b="1" noProof="0"/>
          </a:p>
        </p:txBody>
      </p:sp>
    </p:spTree>
    <p:extLst>
      <p:ext uri="{BB962C8B-B14F-4D97-AF65-F5344CB8AC3E}">
        <p14:creationId xmlns:p14="http://schemas.microsoft.com/office/powerpoint/2010/main" val="1988345488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5D5636C-4A3B-4687-A32F-A23F073303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36550" y="3002629"/>
            <a:ext cx="7632165" cy="439200"/>
          </a:xfrm>
        </p:spPr>
        <p:txBody>
          <a:bodyPr tIns="0" rIns="0" anchor="b"/>
          <a:lstStyle>
            <a:lvl1pPr>
              <a:defRPr/>
            </a:lvl1pPr>
          </a:lstStyle>
          <a:p>
            <a:r>
              <a:rPr lang="de-DE"/>
              <a:t>Name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98DD7453-3D77-4899-8249-C2AE1A1878FC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DA1B9C29-CF6C-4BD9-B61E-F30BFF73AE57}" type="datetime1">
              <a:rPr lang="de-DE" noProof="0" smtClean="0"/>
              <a:t>22.10.2023</a:t>
            </a:fld>
            <a:endParaRPr lang="de-DE" sz="800" noProof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C34511B7-2BED-45DB-8C67-E37B5196F6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pPr algn="ctr"/>
            <a:r>
              <a:rPr lang="de-DE" noProof="0"/>
              <a:t>Commerzbank AG, Max Mustermann, GM-C Brand Management 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D4515AA9-6163-4AFF-9843-E18F50895A1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CAEFDB47-5D1C-45E7-8BD0-EF74349B00F7}" type="slidenum">
              <a:rPr lang="de-DE" noProof="0" smtClean="0"/>
              <a:pPr/>
              <a:t>‹#›</a:t>
            </a:fld>
            <a:endParaRPr lang="de-DE" b="0" noProof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EC9A3B9A-95AA-4913-969A-F19C557D1B40}"/>
              </a:ext>
            </a:extLst>
          </p:cNvPr>
          <p:cNvSpPr>
            <a:spLocks noGrp="1"/>
          </p:cNvSpPr>
          <p:nvPr userDrawn="1">
            <p:ph type="body" sz="quarter" idx="13"/>
          </p:nvPr>
        </p:nvSpPr>
        <p:spPr bwMode="gray">
          <a:xfrm>
            <a:off x="336550" y="4014391"/>
            <a:ext cx="7632165" cy="710009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>
                <a:solidFill>
                  <a:schemeClr val="tx1"/>
                </a:solidFill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>
                <a:solidFill>
                  <a:schemeClr val="tx1"/>
                </a:solidFill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>
                <a:solidFill>
                  <a:schemeClr val="tx1"/>
                </a:solidFill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>
                <a:solidFill>
                  <a:schemeClr val="tx1"/>
                </a:solidFill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>
                <a:solidFill>
                  <a:schemeClr val="tx1"/>
                </a:solidFill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8" name="Textplatzhalter 6">
            <a:extLst>
              <a:ext uri="{FF2B5EF4-FFF2-40B4-BE49-F238E27FC236}">
                <a16:creationId xmlns:a16="http://schemas.microsoft.com/office/drawing/2014/main" id="{FA533901-D860-4E7E-A5C4-5A4116A26262}"/>
              </a:ext>
            </a:extLst>
          </p:cNvPr>
          <p:cNvSpPr>
            <a:spLocks noGrp="1"/>
          </p:cNvSpPr>
          <p:nvPr userDrawn="1">
            <p:ph type="body" sz="quarter" idx="14"/>
          </p:nvPr>
        </p:nvSpPr>
        <p:spPr bwMode="gray">
          <a:xfrm>
            <a:off x="336550" y="4868863"/>
            <a:ext cx="7632165" cy="1289485"/>
          </a:xfrm>
        </p:spPr>
        <p:txBody>
          <a:bodyPr anchor="b"/>
          <a:lstStyle>
            <a:lvl1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1077913" algn="l"/>
              </a:tabLst>
              <a:defRPr sz="1800" b="0">
                <a:solidFill>
                  <a:schemeClr val="tx1"/>
                </a:solidFill>
              </a:defRPr>
            </a:lvl1pPr>
            <a:lvl2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1077913" algn="l"/>
              </a:tabLst>
              <a:defRPr sz="1800" b="0">
                <a:solidFill>
                  <a:schemeClr val="tx1"/>
                </a:solidFill>
              </a:defRPr>
            </a:lvl2pPr>
            <a:lvl3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1077913" algn="l"/>
              </a:tabLst>
              <a:defRPr sz="1800" b="0">
                <a:solidFill>
                  <a:schemeClr val="tx1"/>
                </a:solidFill>
              </a:defRPr>
            </a:lvl3pPr>
            <a:lvl4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1077913" algn="l"/>
              </a:tabLst>
              <a:defRPr sz="1800" b="0">
                <a:solidFill>
                  <a:schemeClr val="tx1"/>
                </a:solidFill>
              </a:defRPr>
            </a:lvl4pPr>
            <a:lvl5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1077913" algn="l"/>
              </a:tabLst>
              <a:defRPr sz="1800" b="0">
                <a:solidFill>
                  <a:schemeClr val="tx1"/>
                </a:solidFill>
              </a:defRPr>
            </a:lvl5pPr>
            <a:lvl6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1077913" algn="l"/>
              </a:tabLst>
              <a:defRPr sz="1800" b="0">
                <a:solidFill>
                  <a:schemeClr val="tx1"/>
                </a:solidFill>
              </a:defRPr>
            </a:lvl6pPr>
            <a:lvl7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1077913" algn="l"/>
              </a:tabLst>
              <a:defRPr sz="1800" b="0">
                <a:solidFill>
                  <a:schemeClr val="tx1"/>
                </a:solidFill>
              </a:defRPr>
            </a:lvl7pPr>
            <a:lvl8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1077913" algn="l"/>
              </a:tabLst>
              <a:defRPr sz="1800" b="0">
                <a:solidFill>
                  <a:schemeClr val="tx1"/>
                </a:solidFill>
              </a:defRPr>
            </a:lvl8pPr>
            <a:lvl9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1077913" algn="l"/>
              </a:tabLst>
              <a:defRPr sz="18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Textplatzhalter 6">
            <a:extLst>
              <a:ext uri="{FF2B5EF4-FFF2-40B4-BE49-F238E27FC236}">
                <a16:creationId xmlns:a16="http://schemas.microsoft.com/office/drawing/2014/main" id="{70B089D3-CF39-44CB-9B6F-CF35F004D8F6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 bwMode="gray">
          <a:xfrm>
            <a:off x="8113825" y="4020309"/>
            <a:ext cx="3742678" cy="848554"/>
          </a:xfrm>
        </p:spPr>
        <p:txBody>
          <a:bodyPr/>
          <a:lstStyle>
            <a:lvl1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533400" algn="l"/>
              </a:tabLst>
              <a:defRPr sz="1200" b="0">
                <a:solidFill>
                  <a:schemeClr val="tx1"/>
                </a:solidFill>
              </a:defRPr>
            </a:lvl1pPr>
            <a:lvl2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533400" algn="l"/>
              </a:tabLst>
              <a:defRPr sz="1200" b="0">
                <a:solidFill>
                  <a:schemeClr val="tx1"/>
                </a:solidFill>
              </a:defRPr>
            </a:lvl2pPr>
            <a:lvl3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533400" algn="l"/>
              </a:tabLst>
              <a:defRPr sz="1200" b="0">
                <a:solidFill>
                  <a:schemeClr val="tx1"/>
                </a:solidFill>
              </a:defRPr>
            </a:lvl3pPr>
            <a:lvl4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533400" algn="l"/>
              </a:tabLst>
              <a:defRPr sz="1200" b="0">
                <a:solidFill>
                  <a:schemeClr val="tx1"/>
                </a:solidFill>
              </a:defRPr>
            </a:lvl4pPr>
            <a:lvl5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533400" algn="l"/>
              </a:tabLst>
              <a:defRPr sz="1200" b="0">
                <a:solidFill>
                  <a:schemeClr val="tx1"/>
                </a:solidFill>
              </a:defRPr>
            </a:lvl5pPr>
            <a:lvl6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533400" algn="l"/>
              </a:tabLst>
              <a:defRPr sz="1200" b="0">
                <a:solidFill>
                  <a:schemeClr val="tx1"/>
                </a:solidFill>
              </a:defRPr>
            </a:lvl6pPr>
            <a:lvl7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533400" algn="l"/>
              </a:tabLst>
              <a:defRPr sz="1200" b="0">
                <a:solidFill>
                  <a:schemeClr val="tx1"/>
                </a:solidFill>
              </a:defRPr>
            </a:lvl7pPr>
            <a:lvl8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533400" algn="l"/>
              </a:tabLst>
              <a:defRPr sz="1200" b="0">
                <a:solidFill>
                  <a:schemeClr val="tx1"/>
                </a:solidFill>
              </a:defRPr>
            </a:lvl8pPr>
            <a:lvl9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533400" algn="l"/>
              </a:tabLst>
              <a:defRPr sz="12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652C86FB-A613-4E59-A8BA-FD8F2C23664A}"/>
              </a:ext>
            </a:extLst>
          </p:cNvPr>
          <p:cNvSpPr txBox="1">
            <a:spLocks/>
          </p:cNvSpPr>
          <p:nvPr userDrawn="1"/>
        </p:nvSpPr>
        <p:spPr bwMode="gray">
          <a:xfrm>
            <a:off x="9621639" y="2557114"/>
            <a:ext cx="1705719" cy="555427"/>
          </a:xfrm>
          <a:custGeom>
            <a:avLst/>
            <a:gdLst/>
            <a:ahLst/>
            <a:cxnLst/>
            <a:rect l="l" t="t" r="r" b="b"/>
            <a:pathLst>
              <a:path w="1705719" h="555427">
                <a:moveTo>
                  <a:pt x="1510457" y="421928"/>
                </a:moveTo>
                <a:cubicBezTo>
                  <a:pt x="1501329" y="421928"/>
                  <a:pt x="1493788" y="425252"/>
                  <a:pt x="1487835" y="431899"/>
                </a:cubicBezTo>
                <a:cubicBezTo>
                  <a:pt x="1481882" y="438547"/>
                  <a:pt x="1478955" y="447576"/>
                  <a:pt x="1479054" y="458986"/>
                </a:cubicBezTo>
                <a:lnTo>
                  <a:pt x="1541562" y="458986"/>
                </a:lnTo>
                <a:cubicBezTo>
                  <a:pt x="1541264" y="446881"/>
                  <a:pt x="1538139" y="437679"/>
                  <a:pt x="1532186" y="431378"/>
                </a:cubicBezTo>
                <a:cubicBezTo>
                  <a:pt x="1526233" y="425078"/>
                  <a:pt x="1518989" y="421928"/>
                  <a:pt x="1510457" y="421928"/>
                </a:cubicBezTo>
                <a:close/>
                <a:moveTo>
                  <a:pt x="1138982" y="421928"/>
                </a:moveTo>
                <a:cubicBezTo>
                  <a:pt x="1129853" y="421928"/>
                  <a:pt x="1122313" y="425252"/>
                  <a:pt x="1116360" y="431899"/>
                </a:cubicBezTo>
                <a:cubicBezTo>
                  <a:pt x="1110407" y="438547"/>
                  <a:pt x="1107480" y="447576"/>
                  <a:pt x="1107579" y="458986"/>
                </a:cubicBezTo>
                <a:lnTo>
                  <a:pt x="1170087" y="458986"/>
                </a:lnTo>
                <a:cubicBezTo>
                  <a:pt x="1169789" y="446881"/>
                  <a:pt x="1166664" y="437679"/>
                  <a:pt x="1160711" y="431378"/>
                </a:cubicBezTo>
                <a:cubicBezTo>
                  <a:pt x="1154757" y="425078"/>
                  <a:pt x="1147515" y="421928"/>
                  <a:pt x="1138982" y="421928"/>
                </a:cubicBezTo>
                <a:close/>
                <a:moveTo>
                  <a:pt x="557957" y="421928"/>
                </a:moveTo>
                <a:cubicBezTo>
                  <a:pt x="548829" y="421928"/>
                  <a:pt x="541288" y="425252"/>
                  <a:pt x="535335" y="431899"/>
                </a:cubicBezTo>
                <a:cubicBezTo>
                  <a:pt x="529382" y="438547"/>
                  <a:pt x="526455" y="447576"/>
                  <a:pt x="526554" y="458986"/>
                </a:cubicBezTo>
                <a:lnTo>
                  <a:pt x="589062" y="458986"/>
                </a:lnTo>
                <a:cubicBezTo>
                  <a:pt x="588764" y="446881"/>
                  <a:pt x="585639" y="437679"/>
                  <a:pt x="579686" y="431378"/>
                </a:cubicBezTo>
                <a:cubicBezTo>
                  <a:pt x="573733" y="425078"/>
                  <a:pt x="566489" y="421928"/>
                  <a:pt x="557957" y="421928"/>
                </a:cubicBezTo>
                <a:close/>
                <a:moveTo>
                  <a:pt x="1247626" y="393502"/>
                </a:moveTo>
                <a:lnTo>
                  <a:pt x="1289447" y="393502"/>
                </a:lnTo>
                <a:lnTo>
                  <a:pt x="1289447" y="551557"/>
                </a:lnTo>
                <a:lnTo>
                  <a:pt x="1247626" y="551557"/>
                </a:lnTo>
                <a:close/>
                <a:moveTo>
                  <a:pt x="1507927" y="389930"/>
                </a:moveTo>
                <a:cubicBezTo>
                  <a:pt x="1531441" y="389930"/>
                  <a:pt x="1549995" y="397694"/>
                  <a:pt x="1563589" y="413221"/>
                </a:cubicBezTo>
                <a:cubicBezTo>
                  <a:pt x="1577181" y="428749"/>
                  <a:pt x="1583680" y="452537"/>
                  <a:pt x="1583085" y="484585"/>
                </a:cubicBezTo>
                <a:lnTo>
                  <a:pt x="1478310" y="484585"/>
                </a:lnTo>
                <a:cubicBezTo>
                  <a:pt x="1478607" y="496987"/>
                  <a:pt x="1481981" y="506636"/>
                  <a:pt x="1488430" y="513532"/>
                </a:cubicBezTo>
                <a:cubicBezTo>
                  <a:pt x="1494879" y="520427"/>
                  <a:pt x="1502916" y="523875"/>
                  <a:pt x="1512540" y="523875"/>
                </a:cubicBezTo>
                <a:cubicBezTo>
                  <a:pt x="1519089" y="523875"/>
                  <a:pt x="1524595" y="522089"/>
                  <a:pt x="1529060" y="518517"/>
                </a:cubicBezTo>
                <a:cubicBezTo>
                  <a:pt x="1533525" y="514945"/>
                  <a:pt x="1536899" y="509191"/>
                  <a:pt x="1539181" y="501253"/>
                </a:cubicBezTo>
                <a:lnTo>
                  <a:pt x="1580853" y="508248"/>
                </a:lnTo>
                <a:cubicBezTo>
                  <a:pt x="1575495" y="523528"/>
                  <a:pt x="1567036" y="535161"/>
                  <a:pt x="1555477" y="543148"/>
                </a:cubicBezTo>
                <a:cubicBezTo>
                  <a:pt x="1543918" y="551136"/>
                  <a:pt x="1529457" y="555129"/>
                  <a:pt x="1512094" y="555129"/>
                </a:cubicBezTo>
                <a:cubicBezTo>
                  <a:pt x="1484610" y="555129"/>
                  <a:pt x="1464271" y="546150"/>
                  <a:pt x="1451074" y="528191"/>
                </a:cubicBezTo>
                <a:cubicBezTo>
                  <a:pt x="1440656" y="513804"/>
                  <a:pt x="1435447" y="495647"/>
                  <a:pt x="1435447" y="473720"/>
                </a:cubicBezTo>
                <a:cubicBezTo>
                  <a:pt x="1435447" y="447526"/>
                  <a:pt x="1442293" y="427013"/>
                  <a:pt x="1455986" y="412180"/>
                </a:cubicBezTo>
                <a:cubicBezTo>
                  <a:pt x="1469678" y="397346"/>
                  <a:pt x="1486991" y="389930"/>
                  <a:pt x="1507927" y="389930"/>
                </a:cubicBezTo>
                <a:close/>
                <a:moveTo>
                  <a:pt x="1136452" y="389930"/>
                </a:moveTo>
                <a:cubicBezTo>
                  <a:pt x="1159967" y="389930"/>
                  <a:pt x="1178520" y="397694"/>
                  <a:pt x="1192113" y="413221"/>
                </a:cubicBezTo>
                <a:cubicBezTo>
                  <a:pt x="1205706" y="428749"/>
                  <a:pt x="1212205" y="452537"/>
                  <a:pt x="1211610" y="484585"/>
                </a:cubicBezTo>
                <a:lnTo>
                  <a:pt x="1106835" y="484585"/>
                </a:lnTo>
                <a:cubicBezTo>
                  <a:pt x="1107133" y="496987"/>
                  <a:pt x="1110506" y="506636"/>
                  <a:pt x="1116955" y="513532"/>
                </a:cubicBezTo>
                <a:cubicBezTo>
                  <a:pt x="1123404" y="520427"/>
                  <a:pt x="1131441" y="523875"/>
                  <a:pt x="1141065" y="523875"/>
                </a:cubicBezTo>
                <a:cubicBezTo>
                  <a:pt x="1147614" y="523875"/>
                  <a:pt x="1153120" y="522089"/>
                  <a:pt x="1157585" y="518517"/>
                </a:cubicBezTo>
                <a:cubicBezTo>
                  <a:pt x="1162050" y="514945"/>
                  <a:pt x="1165423" y="509191"/>
                  <a:pt x="1167706" y="501253"/>
                </a:cubicBezTo>
                <a:lnTo>
                  <a:pt x="1209377" y="508248"/>
                </a:lnTo>
                <a:cubicBezTo>
                  <a:pt x="1204020" y="523528"/>
                  <a:pt x="1195561" y="535161"/>
                  <a:pt x="1184002" y="543148"/>
                </a:cubicBezTo>
                <a:cubicBezTo>
                  <a:pt x="1172443" y="551136"/>
                  <a:pt x="1157982" y="555129"/>
                  <a:pt x="1140619" y="555129"/>
                </a:cubicBezTo>
                <a:cubicBezTo>
                  <a:pt x="1113135" y="555129"/>
                  <a:pt x="1092795" y="546150"/>
                  <a:pt x="1079599" y="528191"/>
                </a:cubicBezTo>
                <a:cubicBezTo>
                  <a:pt x="1069181" y="513804"/>
                  <a:pt x="1063972" y="495647"/>
                  <a:pt x="1063972" y="473720"/>
                </a:cubicBezTo>
                <a:cubicBezTo>
                  <a:pt x="1063972" y="447526"/>
                  <a:pt x="1070819" y="427013"/>
                  <a:pt x="1084511" y="412180"/>
                </a:cubicBezTo>
                <a:cubicBezTo>
                  <a:pt x="1098203" y="397346"/>
                  <a:pt x="1115517" y="389930"/>
                  <a:pt x="1136452" y="389930"/>
                </a:cubicBezTo>
                <a:close/>
                <a:moveTo>
                  <a:pt x="739676" y="389930"/>
                </a:moveTo>
                <a:cubicBezTo>
                  <a:pt x="749201" y="389930"/>
                  <a:pt x="758379" y="392559"/>
                  <a:pt x="767209" y="397818"/>
                </a:cubicBezTo>
                <a:lnTo>
                  <a:pt x="754261" y="434281"/>
                </a:lnTo>
                <a:cubicBezTo>
                  <a:pt x="747216" y="429717"/>
                  <a:pt x="740668" y="427435"/>
                  <a:pt x="734616" y="427435"/>
                </a:cubicBezTo>
                <a:cubicBezTo>
                  <a:pt x="728762" y="427435"/>
                  <a:pt x="723801" y="429047"/>
                  <a:pt x="719733" y="432271"/>
                </a:cubicBezTo>
                <a:cubicBezTo>
                  <a:pt x="715665" y="435496"/>
                  <a:pt x="712465" y="441325"/>
                  <a:pt x="710133" y="449759"/>
                </a:cubicBezTo>
                <a:cubicBezTo>
                  <a:pt x="707802" y="458192"/>
                  <a:pt x="706636" y="475853"/>
                  <a:pt x="706636" y="502742"/>
                </a:cubicBezTo>
                <a:lnTo>
                  <a:pt x="706636" y="551557"/>
                </a:lnTo>
                <a:lnTo>
                  <a:pt x="664815" y="551557"/>
                </a:lnTo>
                <a:lnTo>
                  <a:pt x="664815" y="393502"/>
                </a:lnTo>
                <a:lnTo>
                  <a:pt x="703659" y="393502"/>
                </a:lnTo>
                <a:lnTo>
                  <a:pt x="703659" y="415975"/>
                </a:lnTo>
                <a:cubicBezTo>
                  <a:pt x="710307" y="405358"/>
                  <a:pt x="716285" y="398363"/>
                  <a:pt x="721593" y="394990"/>
                </a:cubicBezTo>
                <a:cubicBezTo>
                  <a:pt x="726901" y="391617"/>
                  <a:pt x="732929" y="389930"/>
                  <a:pt x="739676" y="389930"/>
                </a:cubicBezTo>
                <a:close/>
                <a:moveTo>
                  <a:pt x="555427" y="389930"/>
                </a:moveTo>
                <a:cubicBezTo>
                  <a:pt x="578941" y="389930"/>
                  <a:pt x="597495" y="397694"/>
                  <a:pt x="611088" y="413221"/>
                </a:cubicBezTo>
                <a:cubicBezTo>
                  <a:pt x="624681" y="428749"/>
                  <a:pt x="631180" y="452537"/>
                  <a:pt x="630585" y="484585"/>
                </a:cubicBezTo>
                <a:lnTo>
                  <a:pt x="525810" y="484585"/>
                </a:lnTo>
                <a:cubicBezTo>
                  <a:pt x="526107" y="496987"/>
                  <a:pt x="529481" y="506636"/>
                  <a:pt x="535930" y="513532"/>
                </a:cubicBezTo>
                <a:cubicBezTo>
                  <a:pt x="542379" y="520427"/>
                  <a:pt x="550416" y="523875"/>
                  <a:pt x="560040" y="523875"/>
                </a:cubicBezTo>
                <a:cubicBezTo>
                  <a:pt x="566589" y="523875"/>
                  <a:pt x="572095" y="522089"/>
                  <a:pt x="576560" y="518517"/>
                </a:cubicBezTo>
                <a:cubicBezTo>
                  <a:pt x="581025" y="514945"/>
                  <a:pt x="584399" y="509191"/>
                  <a:pt x="586681" y="501253"/>
                </a:cubicBezTo>
                <a:lnTo>
                  <a:pt x="628353" y="508248"/>
                </a:lnTo>
                <a:cubicBezTo>
                  <a:pt x="622995" y="523528"/>
                  <a:pt x="614536" y="535161"/>
                  <a:pt x="602977" y="543148"/>
                </a:cubicBezTo>
                <a:cubicBezTo>
                  <a:pt x="591418" y="551136"/>
                  <a:pt x="576957" y="555129"/>
                  <a:pt x="559594" y="555129"/>
                </a:cubicBezTo>
                <a:cubicBezTo>
                  <a:pt x="532110" y="555129"/>
                  <a:pt x="511770" y="546150"/>
                  <a:pt x="498574" y="528191"/>
                </a:cubicBezTo>
                <a:cubicBezTo>
                  <a:pt x="488156" y="513804"/>
                  <a:pt x="482947" y="495647"/>
                  <a:pt x="482947" y="473720"/>
                </a:cubicBezTo>
                <a:cubicBezTo>
                  <a:pt x="482947" y="447526"/>
                  <a:pt x="489793" y="427013"/>
                  <a:pt x="503486" y="412180"/>
                </a:cubicBezTo>
                <a:cubicBezTo>
                  <a:pt x="517178" y="397346"/>
                  <a:pt x="534491" y="389930"/>
                  <a:pt x="555427" y="389930"/>
                </a:cubicBezTo>
                <a:close/>
                <a:moveTo>
                  <a:pt x="444401" y="389930"/>
                </a:moveTo>
                <a:cubicBezTo>
                  <a:pt x="453926" y="389930"/>
                  <a:pt x="463104" y="392559"/>
                  <a:pt x="471934" y="397818"/>
                </a:cubicBezTo>
                <a:lnTo>
                  <a:pt x="458986" y="434281"/>
                </a:lnTo>
                <a:cubicBezTo>
                  <a:pt x="451941" y="429717"/>
                  <a:pt x="445393" y="427435"/>
                  <a:pt x="439341" y="427435"/>
                </a:cubicBezTo>
                <a:cubicBezTo>
                  <a:pt x="433487" y="427435"/>
                  <a:pt x="428526" y="429047"/>
                  <a:pt x="424458" y="432271"/>
                </a:cubicBezTo>
                <a:cubicBezTo>
                  <a:pt x="420390" y="435496"/>
                  <a:pt x="417190" y="441325"/>
                  <a:pt x="414859" y="449759"/>
                </a:cubicBezTo>
                <a:cubicBezTo>
                  <a:pt x="412527" y="458192"/>
                  <a:pt x="411361" y="475853"/>
                  <a:pt x="411361" y="502742"/>
                </a:cubicBezTo>
                <a:lnTo>
                  <a:pt x="411361" y="551557"/>
                </a:lnTo>
                <a:lnTo>
                  <a:pt x="369540" y="551557"/>
                </a:lnTo>
                <a:lnTo>
                  <a:pt x="369540" y="393502"/>
                </a:lnTo>
                <a:lnTo>
                  <a:pt x="408384" y="393502"/>
                </a:lnTo>
                <a:lnTo>
                  <a:pt x="408384" y="415975"/>
                </a:lnTo>
                <a:cubicBezTo>
                  <a:pt x="415032" y="405358"/>
                  <a:pt x="421010" y="398363"/>
                  <a:pt x="426318" y="394990"/>
                </a:cubicBezTo>
                <a:cubicBezTo>
                  <a:pt x="431626" y="391617"/>
                  <a:pt x="437654" y="389930"/>
                  <a:pt x="444401" y="389930"/>
                </a:cubicBezTo>
                <a:close/>
                <a:moveTo>
                  <a:pt x="1386781" y="337691"/>
                </a:moveTo>
                <a:lnTo>
                  <a:pt x="1386781" y="393502"/>
                </a:lnTo>
                <a:lnTo>
                  <a:pt x="1415356" y="393502"/>
                </a:lnTo>
                <a:lnTo>
                  <a:pt x="1415356" y="426839"/>
                </a:lnTo>
                <a:lnTo>
                  <a:pt x="1386781" y="426839"/>
                </a:lnTo>
                <a:lnTo>
                  <a:pt x="1386781" y="490538"/>
                </a:lnTo>
                <a:cubicBezTo>
                  <a:pt x="1386781" y="503436"/>
                  <a:pt x="1387053" y="510952"/>
                  <a:pt x="1387599" y="513085"/>
                </a:cubicBezTo>
                <a:cubicBezTo>
                  <a:pt x="1388145" y="515218"/>
                  <a:pt x="1389385" y="516980"/>
                  <a:pt x="1391320" y="518369"/>
                </a:cubicBezTo>
                <a:cubicBezTo>
                  <a:pt x="1393255" y="519758"/>
                  <a:pt x="1395611" y="520452"/>
                  <a:pt x="1398389" y="520452"/>
                </a:cubicBezTo>
                <a:cubicBezTo>
                  <a:pt x="1402259" y="520452"/>
                  <a:pt x="1407865" y="519113"/>
                  <a:pt x="1415207" y="516434"/>
                </a:cubicBezTo>
                <a:lnTo>
                  <a:pt x="1418779" y="548878"/>
                </a:lnTo>
                <a:cubicBezTo>
                  <a:pt x="1409055" y="553045"/>
                  <a:pt x="1398042" y="555129"/>
                  <a:pt x="1385739" y="555129"/>
                </a:cubicBezTo>
                <a:cubicBezTo>
                  <a:pt x="1378198" y="555129"/>
                  <a:pt x="1371402" y="553864"/>
                  <a:pt x="1365349" y="551334"/>
                </a:cubicBezTo>
                <a:cubicBezTo>
                  <a:pt x="1359297" y="548804"/>
                  <a:pt x="1354857" y="545530"/>
                  <a:pt x="1352029" y="541511"/>
                </a:cubicBezTo>
                <a:cubicBezTo>
                  <a:pt x="1349201" y="537493"/>
                  <a:pt x="1347242" y="532061"/>
                  <a:pt x="1346151" y="525215"/>
                </a:cubicBezTo>
                <a:cubicBezTo>
                  <a:pt x="1345257" y="520353"/>
                  <a:pt x="1344811" y="510530"/>
                  <a:pt x="1344811" y="495747"/>
                </a:cubicBezTo>
                <a:lnTo>
                  <a:pt x="1344811" y="426839"/>
                </a:lnTo>
                <a:lnTo>
                  <a:pt x="1325612" y="426839"/>
                </a:lnTo>
                <a:lnTo>
                  <a:pt x="1325612" y="393502"/>
                </a:lnTo>
                <a:lnTo>
                  <a:pt x="1344811" y="393502"/>
                </a:lnTo>
                <a:lnTo>
                  <a:pt x="1344811" y="362099"/>
                </a:lnTo>
                <a:close/>
                <a:moveTo>
                  <a:pt x="1247626" y="333375"/>
                </a:moveTo>
                <a:lnTo>
                  <a:pt x="1289447" y="333375"/>
                </a:lnTo>
                <a:lnTo>
                  <a:pt x="1289447" y="372070"/>
                </a:lnTo>
                <a:lnTo>
                  <a:pt x="1247626" y="372070"/>
                </a:lnTo>
                <a:close/>
                <a:moveTo>
                  <a:pt x="190202" y="333375"/>
                </a:moveTo>
                <a:lnTo>
                  <a:pt x="232023" y="333375"/>
                </a:lnTo>
                <a:lnTo>
                  <a:pt x="232023" y="413594"/>
                </a:lnTo>
                <a:cubicBezTo>
                  <a:pt x="245517" y="397818"/>
                  <a:pt x="261640" y="389930"/>
                  <a:pt x="280392" y="389930"/>
                </a:cubicBezTo>
                <a:cubicBezTo>
                  <a:pt x="290017" y="389930"/>
                  <a:pt x="298698" y="391716"/>
                  <a:pt x="306437" y="395288"/>
                </a:cubicBezTo>
                <a:cubicBezTo>
                  <a:pt x="314176" y="398860"/>
                  <a:pt x="320005" y="403424"/>
                  <a:pt x="323925" y="408980"/>
                </a:cubicBezTo>
                <a:cubicBezTo>
                  <a:pt x="327844" y="414536"/>
                  <a:pt x="330523" y="420688"/>
                  <a:pt x="331961" y="427435"/>
                </a:cubicBezTo>
                <a:cubicBezTo>
                  <a:pt x="333400" y="434181"/>
                  <a:pt x="334119" y="444649"/>
                  <a:pt x="334119" y="458837"/>
                </a:cubicBezTo>
                <a:lnTo>
                  <a:pt x="334119" y="551557"/>
                </a:lnTo>
                <a:lnTo>
                  <a:pt x="292299" y="551557"/>
                </a:lnTo>
                <a:lnTo>
                  <a:pt x="292299" y="468065"/>
                </a:lnTo>
                <a:cubicBezTo>
                  <a:pt x="292299" y="451495"/>
                  <a:pt x="291505" y="440978"/>
                  <a:pt x="289917" y="436513"/>
                </a:cubicBezTo>
                <a:cubicBezTo>
                  <a:pt x="288330" y="432048"/>
                  <a:pt x="285527" y="428501"/>
                  <a:pt x="281509" y="425872"/>
                </a:cubicBezTo>
                <a:cubicBezTo>
                  <a:pt x="277490" y="423242"/>
                  <a:pt x="272455" y="421928"/>
                  <a:pt x="266402" y="421928"/>
                </a:cubicBezTo>
                <a:cubicBezTo>
                  <a:pt x="259457" y="421928"/>
                  <a:pt x="253256" y="423615"/>
                  <a:pt x="247799" y="426988"/>
                </a:cubicBezTo>
                <a:cubicBezTo>
                  <a:pt x="242342" y="430362"/>
                  <a:pt x="238348" y="435446"/>
                  <a:pt x="235818" y="442243"/>
                </a:cubicBezTo>
                <a:cubicBezTo>
                  <a:pt x="233288" y="449039"/>
                  <a:pt x="232023" y="459085"/>
                  <a:pt x="232023" y="472381"/>
                </a:cubicBezTo>
                <a:lnTo>
                  <a:pt x="232023" y="551557"/>
                </a:lnTo>
                <a:lnTo>
                  <a:pt x="190202" y="551557"/>
                </a:lnTo>
                <a:close/>
                <a:moveTo>
                  <a:pt x="113109" y="333375"/>
                </a:moveTo>
                <a:lnTo>
                  <a:pt x="157163" y="333375"/>
                </a:lnTo>
                <a:lnTo>
                  <a:pt x="157163" y="551557"/>
                </a:lnTo>
                <a:lnTo>
                  <a:pt x="113109" y="551557"/>
                </a:lnTo>
                <a:close/>
                <a:moveTo>
                  <a:pt x="952798" y="329654"/>
                </a:moveTo>
                <a:cubicBezTo>
                  <a:pt x="980182" y="329654"/>
                  <a:pt x="1000795" y="335657"/>
                  <a:pt x="1014636" y="347663"/>
                </a:cubicBezTo>
                <a:cubicBezTo>
                  <a:pt x="1028477" y="359668"/>
                  <a:pt x="1035745" y="375692"/>
                  <a:pt x="1036439" y="395734"/>
                </a:cubicBezTo>
                <a:lnTo>
                  <a:pt x="992386" y="397669"/>
                </a:lnTo>
                <a:cubicBezTo>
                  <a:pt x="990501" y="386457"/>
                  <a:pt x="986458" y="378396"/>
                  <a:pt x="980257" y="373484"/>
                </a:cubicBezTo>
                <a:cubicBezTo>
                  <a:pt x="974055" y="368573"/>
                  <a:pt x="964754" y="366117"/>
                  <a:pt x="952351" y="366117"/>
                </a:cubicBezTo>
                <a:cubicBezTo>
                  <a:pt x="939552" y="366117"/>
                  <a:pt x="929531" y="368747"/>
                  <a:pt x="922288" y="374005"/>
                </a:cubicBezTo>
                <a:cubicBezTo>
                  <a:pt x="917625" y="377379"/>
                  <a:pt x="915293" y="381893"/>
                  <a:pt x="915293" y="387549"/>
                </a:cubicBezTo>
                <a:cubicBezTo>
                  <a:pt x="915293" y="392708"/>
                  <a:pt x="917476" y="397123"/>
                  <a:pt x="921841" y="400794"/>
                </a:cubicBezTo>
                <a:cubicBezTo>
                  <a:pt x="927398" y="405458"/>
                  <a:pt x="940891" y="410319"/>
                  <a:pt x="962323" y="415379"/>
                </a:cubicBezTo>
                <a:cubicBezTo>
                  <a:pt x="983754" y="420440"/>
                  <a:pt x="999604" y="425673"/>
                  <a:pt x="1009873" y="431081"/>
                </a:cubicBezTo>
                <a:cubicBezTo>
                  <a:pt x="1020143" y="436488"/>
                  <a:pt x="1028179" y="443880"/>
                  <a:pt x="1033983" y="453256"/>
                </a:cubicBezTo>
                <a:cubicBezTo>
                  <a:pt x="1039788" y="462632"/>
                  <a:pt x="1042690" y="474216"/>
                  <a:pt x="1042690" y="488008"/>
                </a:cubicBezTo>
                <a:cubicBezTo>
                  <a:pt x="1042690" y="500509"/>
                  <a:pt x="1039217" y="512217"/>
                  <a:pt x="1032272" y="523131"/>
                </a:cubicBezTo>
                <a:cubicBezTo>
                  <a:pt x="1025327" y="534045"/>
                  <a:pt x="1015504" y="542156"/>
                  <a:pt x="1002804" y="547464"/>
                </a:cubicBezTo>
                <a:cubicBezTo>
                  <a:pt x="990104" y="552773"/>
                  <a:pt x="974279" y="555427"/>
                  <a:pt x="955328" y="555427"/>
                </a:cubicBezTo>
                <a:cubicBezTo>
                  <a:pt x="927745" y="555427"/>
                  <a:pt x="906562" y="549052"/>
                  <a:pt x="891778" y="536302"/>
                </a:cubicBezTo>
                <a:cubicBezTo>
                  <a:pt x="876995" y="523553"/>
                  <a:pt x="868164" y="504974"/>
                  <a:pt x="865287" y="480566"/>
                </a:cubicBezTo>
                <a:lnTo>
                  <a:pt x="908149" y="476399"/>
                </a:lnTo>
                <a:cubicBezTo>
                  <a:pt x="910729" y="490786"/>
                  <a:pt x="915963" y="501353"/>
                  <a:pt x="923851" y="508099"/>
                </a:cubicBezTo>
                <a:cubicBezTo>
                  <a:pt x="931739" y="514846"/>
                  <a:pt x="942380" y="518220"/>
                  <a:pt x="955774" y="518220"/>
                </a:cubicBezTo>
                <a:cubicBezTo>
                  <a:pt x="969963" y="518220"/>
                  <a:pt x="980653" y="515218"/>
                  <a:pt x="987847" y="509216"/>
                </a:cubicBezTo>
                <a:cubicBezTo>
                  <a:pt x="995040" y="503213"/>
                  <a:pt x="998637" y="496193"/>
                  <a:pt x="998637" y="488156"/>
                </a:cubicBezTo>
                <a:cubicBezTo>
                  <a:pt x="998637" y="482997"/>
                  <a:pt x="997124" y="478607"/>
                  <a:pt x="994098" y="474985"/>
                </a:cubicBezTo>
                <a:cubicBezTo>
                  <a:pt x="991071" y="471364"/>
                  <a:pt x="985788" y="468213"/>
                  <a:pt x="978247" y="465535"/>
                </a:cubicBezTo>
                <a:cubicBezTo>
                  <a:pt x="973088" y="463749"/>
                  <a:pt x="961331" y="460574"/>
                  <a:pt x="942975" y="456010"/>
                </a:cubicBezTo>
                <a:cubicBezTo>
                  <a:pt x="919361" y="450156"/>
                  <a:pt x="902791" y="442962"/>
                  <a:pt x="893267" y="434429"/>
                </a:cubicBezTo>
                <a:cubicBezTo>
                  <a:pt x="879872" y="422424"/>
                  <a:pt x="873175" y="407789"/>
                  <a:pt x="873175" y="390525"/>
                </a:cubicBezTo>
                <a:cubicBezTo>
                  <a:pt x="873175" y="379413"/>
                  <a:pt x="876325" y="369019"/>
                  <a:pt x="882625" y="359346"/>
                </a:cubicBezTo>
                <a:cubicBezTo>
                  <a:pt x="888926" y="349672"/>
                  <a:pt x="898004" y="342305"/>
                  <a:pt x="909861" y="337245"/>
                </a:cubicBezTo>
                <a:cubicBezTo>
                  <a:pt x="921717" y="332185"/>
                  <a:pt x="936030" y="329654"/>
                  <a:pt x="952798" y="329654"/>
                </a:cubicBezTo>
                <a:close/>
                <a:moveTo>
                  <a:pt x="1477715" y="142280"/>
                </a:moveTo>
                <a:cubicBezTo>
                  <a:pt x="1472357" y="144066"/>
                  <a:pt x="1463873" y="146199"/>
                  <a:pt x="1452265" y="148679"/>
                </a:cubicBezTo>
                <a:cubicBezTo>
                  <a:pt x="1440656" y="151160"/>
                  <a:pt x="1433066" y="153591"/>
                  <a:pt x="1429494" y="155972"/>
                </a:cubicBezTo>
                <a:cubicBezTo>
                  <a:pt x="1424037" y="159842"/>
                  <a:pt x="1421309" y="164753"/>
                  <a:pt x="1421309" y="170706"/>
                </a:cubicBezTo>
                <a:cubicBezTo>
                  <a:pt x="1421309" y="176560"/>
                  <a:pt x="1423492" y="181620"/>
                  <a:pt x="1427857" y="185886"/>
                </a:cubicBezTo>
                <a:cubicBezTo>
                  <a:pt x="1432223" y="190153"/>
                  <a:pt x="1437779" y="192286"/>
                  <a:pt x="1444526" y="192286"/>
                </a:cubicBezTo>
                <a:cubicBezTo>
                  <a:pt x="1452067" y="192286"/>
                  <a:pt x="1459260" y="189806"/>
                  <a:pt x="1466106" y="184845"/>
                </a:cubicBezTo>
                <a:cubicBezTo>
                  <a:pt x="1471166" y="181074"/>
                  <a:pt x="1474490" y="176461"/>
                  <a:pt x="1476077" y="171004"/>
                </a:cubicBezTo>
                <a:cubicBezTo>
                  <a:pt x="1477169" y="167432"/>
                  <a:pt x="1477715" y="160635"/>
                  <a:pt x="1477715" y="150614"/>
                </a:cubicBezTo>
                <a:close/>
                <a:moveTo>
                  <a:pt x="858590" y="142280"/>
                </a:moveTo>
                <a:cubicBezTo>
                  <a:pt x="853232" y="144066"/>
                  <a:pt x="844749" y="146199"/>
                  <a:pt x="833140" y="148679"/>
                </a:cubicBezTo>
                <a:cubicBezTo>
                  <a:pt x="821531" y="151160"/>
                  <a:pt x="813941" y="153591"/>
                  <a:pt x="810369" y="155972"/>
                </a:cubicBezTo>
                <a:cubicBezTo>
                  <a:pt x="804912" y="159842"/>
                  <a:pt x="802184" y="164753"/>
                  <a:pt x="802184" y="170706"/>
                </a:cubicBezTo>
                <a:cubicBezTo>
                  <a:pt x="802184" y="176560"/>
                  <a:pt x="804366" y="181620"/>
                  <a:pt x="808732" y="185886"/>
                </a:cubicBezTo>
                <a:cubicBezTo>
                  <a:pt x="813098" y="190153"/>
                  <a:pt x="818654" y="192286"/>
                  <a:pt x="825401" y="192286"/>
                </a:cubicBezTo>
                <a:cubicBezTo>
                  <a:pt x="832941" y="192286"/>
                  <a:pt x="840135" y="189806"/>
                  <a:pt x="846981" y="184845"/>
                </a:cubicBezTo>
                <a:cubicBezTo>
                  <a:pt x="852041" y="181074"/>
                  <a:pt x="855365" y="176461"/>
                  <a:pt x="856953" y="171004"/>
                </a:cubicBezTo>
                <a:cubicBezTo>
                  <a:pt x="858044" y="167432"/>
                  <a:pt x="858590" y="160635"/>
                  <a:pt x="858590" y="150614"/>
                </a:cubicBezTo>
                <a:close/>
                <a:moveTo>
                  <a:pt x="606326" y="123081"/>
                </a:moveTo>
                <a:lnTo>
                  <a:pt x="606326" y="181422"/>
                </a:lnTo>
                <a:lnTo>
                  <a:pt x="647105" y="181422"/>
                </a:lnTo>
                <a:cubicBezTo>
                  <a:pt x="662980" y="181422"/>
                  <a:pt x="673051" y="180975"/>
                  <a:pt x="677317" y="180082"/>
                </a:cubicBezTo>
                <a:cubicBezTo>
                  <a:pt x="683865" y="178892"/>
                  <a:pt x="689198" y="175989"/>
                  <a:pt x="693316" y="171376"/>
                </a:cubicBezTo>
                <a:cubicBezTo>
                  <a:pt x="697433" y="166762"/>
                  <a:pt x="699492" y="160586"/>
                  <a:pt x="699492" y="152847"/>
                </a:cubicBezTo>
                <a:cubicBezTo>
                  <a:pt x="699492" y="146298"/>
                  <a:pt x="697905" y="140742"/>
                  <a:pt x="694730" y="136178"/>
                </a:cubicBezTo>
                <a:cubicBezTo>
                  <a:pt x="691555" y="131614"/>
                  <a:pt x="686966" y="128290"/>
                  <a:pt x="680963" y="126206"/>
                </a:cubicBezTo>
                <a:cubicBezTo>
                  <a:pt x="674960" y="124123"/>
                  <a:pt x="661938" y="123081"/>
                  <a:pt x="641896" y="123081"/>
                </a:cubicBezTo>
                <a:close/>
                <a:moveTo>
                  <a:pt x="376982" y="88553"/>
                </a:moveTo>
                <a:cubicBezTo>
                  <a:pt x="367854" y="88553"/>
                  <a:pt x="360313" y="91877"/>
                  <a:pt x="354360" y="98524"/>
                </a:cubicBezTo>
                <a:cubicBezTo>
                  <a:pt x="348407" y="105172"/>
                  <a:pt x="345480" y="114201"/>
                  <a:pt x="345579" y="125611"/>
                </a:cubicBezTo>
                <a:lnTo>
                  <a:pt x="408087" y="125611"/>
                </a:lnTo>
                <a:cubicBezTo>
                  <a:pt x="407789" y="113506"/>
                  <a:pt x="404664" y="104304"/>
                  <a:pt x="398711" y="98003"/>
                </a:cubicBezTo>
                <a:cubicBezTo>
                  <a:pt x="392758" y="91703"/>
                  <a:pt x="385515" y="88553"/>
                  <a:pt x="376982" y="88553"/>
                </a:cubicBezTo>
                <a:close/>
                <a:moveTo>
                  <a:pt x="218926" y="60127"/>
                </a:moveTo>
                <a:lnTo>
                  <a:pt x="260747" y="60127"/>
                </a:lnTo>
                <a:lnTo>
                  <a:pt x="260747" y="218182"/>
                </a:lnTo>
                <a:lnTo>
                  <a:pt x="218926" y="218182"/>
                </a:lnTo>
                <a:close/>
                <a:moveTo>
                  <a:pt x="1652587" y="56555"/>
                </a:moveTo>
                <a:cubicBezTo>
                  <a:pt x="1661815" y="56555"/>
                  <a:pt x="1670249" y="58217"/>
                  <a:pt x="1677889" y="61541"/>
                </a:cubicBezTo>
                <a:cubicBezTo>
                  <a:pt x="1685528" y="64864"/>
                  <a:pt x="1691308" y="69106"/>
                  <a:pt x="1695227" y="74265"/>
                </a:cubicBezTo>
                <a:cubicBezTo>
                  <a:pt x="1699146" y="79425"/>
                  <a:pt x="1701875" y="85279"/>
                  <a:pt x="1703413" y="91827"/>
                </a:cubicBezTo>
                <a:cubicBezTo>
                  <a:pt x="1704950" y="98376"/>
                  <a:pt x="1705719" y="107752"/>
                  <a:pt x="1705719" y="119956"/>
                </a:cubicBezTo>
                <a:lnTo>
                  <a:pt x="1705719" y="218182"/>
                </a:lnTo>
                <a:lnTo>
                  <a:pt x="1663899" y="218182"/>
                </a:lnTo>
                <a:lnTo>
                  <a:pt x="1663899" y="137517"/>
                </a:lnTo>
                <a:cubicBezTo>
                  <a:pt x="1663899" y="120452"/>
                  <a:pt x="1663005" y="109414"/>
                  <a:pt x="1661220" y="104403"/>
                </a:cubicBezTo>
                <a:cubicBezTo>
                  <a:pt x="1659434" y="99392"/>
                  <a:pt x="1656531" y="95498"/>
                  <a:pt x="1652513" y="92720"/>
                </a:cubicBezTo>
                <a:cubicBezTo>
                  <a:pt x="1648495" y="89942"/>
                  <a:pt x="1643658" y="88553"/>
                  <a:pt x="1638003" y="88553"/>
                </a:cubicBezTo>
                <a:cubicBezTo>
                  <a:pt x="1630759" y="88553"/>
                  <a:pt x="1624261" y="90537"/>
                  <a:pt x="1618506" y="94506"/>
                </a:cubicBezTo>
                <a:cubicBezTo>
                  <a:pt x="1612751" y="98475"/>
                  <a:pt x="1608807" y="103733"/>
                  <a:pt x="1606674" y="110282"/>
                </a:cubicBezTo>
                <a:cubicBezTo>
                  <a:pt x="1604541" y="116830"/>
                  <a:pt x="1603474" y="128935"/>
                  <a:pt x="1603474" y="146596"/>
                </a:cubicBezTo>
                <a:lnTo>
                  <a:pt x="1603474" y="218182"/>
                </a:lnTo>
                <a:lnTo>
                  <a:pt x="1561654" y="218182"/>
                </a:lnTo>
                <a:lnTo>
                  <a:pt x="1561654" y="60127"/>
                </a:lnTo>
                <a:lnTo>
                  <a:pt x="1600498" y="60127"/>
                </a:lnTo>
                <a:lnTo>
                  <a:pt x="1600498" y="83344"/>
                </a:lnTo>
                <a:cubicBezTo>
                  <a:pt x="1614289" y="65485"/>
                  <a:pt x="1631653" y="56555"/>
                  <a:pt x="1652587" y="56555"/>
                </a:cubicBezTo>
                <a:close/>
                <a:moveTo>
                  <a:pt x="1452265" y="56555"/>
                </a:moveTo>
                <a:cubicBezTo>
                  <a:pt x="1470918" y="56555"/>
                  <a:pt x="1484809" y="58762"/>
                  <a:pt x="1493937" y="63178"/>
                </a:cubicBezTo>
                <a:cubicBezTo>
                  <a:pt x="1503065" y="67593"/>
                  <a:pt x="1509489" y="73199"/>
                  <a:pt x="1513210" y="79995"/>
                </a:cubicBezTo>
                <a:cubicBezTo>
                  <a:pt x="1516931" y="86792"/>
                  <a:pt x="1518791" y="99269"/>
                  <a:pt x="1518791" y="117426"/>
                </a:cubicBezTo>
                <a:lnTo>
                  <a:pt x="1518345" y="166241"/>
                </a:lnTo>
                <a:cubicBezTo>
                  <a:pt x="1518345" y="180132"/>
                  <a:pt x="1519014" y="190376"/>
                  <a:pt x="1520354" y="196974"/>
                </a:cubicBezTo>
                <a:cubicBezTo>
                  <a:pt x="1521693" y="203572"/>
                  <a:pt x="1524199" y="210642"/>
                  <a:pt x="1527870" y="218182"/>
                </a:cubicBezTo>
                <a:lnTo>
                  <a:pt x="1486495" y="218182"/>
                </a:lnTo>
                <a:cubicBezTo>
                  <a:pt x="1485404" y="215404"/>
                  <a:pt x="1484065" y="211287"/>
                  <a:pt x="1482477" y="205829"/>
                </a:cubicBezTo>
                <a:cubicBezTo>
                  <a:pt x="1481783" y="203349"/>
                  <a:pt x="1481287" y="201712"/>
                  <a:pt x="1480989" y="200918"/>
                </a:cubicBezTo>
                <a:cubicBezTo>
                  <a:pt x="1473845" y="207863"/>
                  <a:pt x="1466205" y="213072"/>
                  <a:pt x="1458069" y="216545"/>
                </a:cubicBezTo>
                <a:cubicBezTo>
                  <a:pt x="1449933" y="220018"/>
                  <a:pt x="1441252" y="221754"/>
                  <a:pt x="1432024" y="221754"/>
                </a:cubicBezTo>
                <a:cubicBezTo>
                  <a:pt x="1415753" y="221754"/>
                  <a:pt x="1402928" y="217339"/>
                  <a:pt x="1393552" y="208508"/>
                </a:cubicBezTo>
                <a:cubicBezTo>
                  <a:pt x="1384176" y="199678"/>
                  <a:pt x="1379488" y="188516"/>
                  <a:pt x="1379488" y="175022"/>
                </a:cubicBezTo>
                <a:cubicBezTo>
                  <a:pt x="1379488" y="166092"/>
                  <a:pt x="1381621" y="158130"/>
                  <a:pt x="1385888" y="151135"/>
                </a:cubicBezTo>
                <a:cubicBezTo>
                  <a:pt x="1390154" y="144140"/>
                  <a:pt x="1396132" y="138782"/>
                  <a:pt x="1403821" y="135062"/>
                </a:cubicBezTo>
                <a:cubicBezTo>
                  <a:pt x="1411511" y="131341"/>
                  <a:pt x="1422599" y="128092"/>
                  <a:pt x="1437085" y="125313"/>
                </a:cubicBezTo>
                <a:cubicBezTo>
                  <a:pt x="1456631" y="121642"/>
                  <a:pt x="1470174" y="118219"/>
                  <a:pt x="1477715" y="115044"/>
                </a:cubicBezTo>
                <a:lnTo>
                  <a:pt x="1477715" y="110877"/>
                </a:lnTo>
                <a:cubicBezTo>
                  <a:pt x="1477715" y="102840"/>
                  <a:pt x="1475730" y="97111"/>
                  <a:pt x="1471761" y="93687"/>
                </a:cubicBezTo>
                <a:cubicBezTo>
                  <a:pt x="1467793" y="90264"/>
                  <a:pt x="1460302" y="88553"/>
                  <a:pt x="1449288" y="88553"/>
                </a:cubicBezTo>
                <a:cubicBezTo>
                  <a:pt x="1441847" y="88553"/>
                  <a:pt x="1436043" y="90016"/>
                  <a:pt x="1431875" y="92943"/>
                </a:cubicBezTo>
                <a:cubicBezTo>
                  <a:pt x="1427708" y="95870"/>
                  <a:pt x="1424335" y="101005"/>
                  <a:pt x="1421755" y="108347"/>
                </a:cubicBezTo>
                <a:lnTo>
                  <a:pt x="1383804" y="101501"/>
                </a:lnTo>
                <a:cubicBezTo>
                  <a:pt x="1388071" y="86221"/>
                  <a:pt x="1395413" y="74910"/>
                  <a:pt x="1405831" y="67568"/>
                </a:cubicBezTo>
                <a:cubicBezTo>
                  <a:pt x="1416249" y="60226"/>
                  <a:pt x="1431727" y="56555"/>
                  <a:pt x="1452265" y="56555"/>
                </a:cubicBezTo>
                <a:close/>
                <a:moveTo>
                  <a:pt x="1033463" y="56555"/>
                </a:moveTo>
                <a:cubicBezTo>
                  <a:pt x="1042690" y="56555"/>
                  <a:pt x="1051123" y="58217"/>
                  <a:pt x="1058763" y="61541"/>
                </a:cubicBezTo>
                <a:cubicBezTo>
                  <a:pt x="1066403" y="64864"/>
                  <a:pt x="1072183" y="69106"/>
                  <a:pt x="1076102" y="74265"/>
                </a:cubicBezTo>
                <a:cubicBezTo>
                  <a:pt x="1080021" y="79425"/>
                  <a:pt x="1082749" y="85279"/>
                  <a:pt x="1084287" y="91827"/>
                </a:cubicBezTo>
                <a:cubicBezTo>
                  <a:pt x="1085825" y="98376"/>
                  <a:pt x="1086594" y="107752"/>
                  <a:pt x="1086594" y="119956"/>
                </a:cubicBezTo>
                <a:lnTo>
                  <a:pt x="1086594" y="218182"/>
                </a:lnTo>
                <a:lnTo>
                  <a:pt x="1044773" y="218182"/>
                </a:lnTo>
                <a:lnTo>
                  <a:pt x="1044773" y="137517"/>
                </a:lnTo>
                <a:cubicBezTo>
                  <a:pt x="1044773" y="120452"/>
                  <a:pt x="1043881" y="109414"/>
                  <a:pt x="1042095" y="104403"/>
                </a:cubicBezTo>
                <a:cubicBezTo>
                  <a:pt x="1040309" y="99392"/>
                  <a:pt x="1037407" y="95498"/>
                  <a:pt x="1033388" y="92720"/>
                </a:cubicBezTo>
                <a:cubicBezTo>
                  <a:pt x="1029370" y="89942"/>
                  <a:pt x="1024533" y="88553"/>
                  <a:pt x="1018877" y="88553"/>
                </a:cubicBezTo>
                <a:cubicBezTo>
                  <a:pt x="1011635" y="88553"/>
                  <a:pt x="1005135" y="90537"/>
                  <a:pt x="999381" y="94506"/>
                </a:cubicBezTo>
                <a:cubicBezTo>
                  <a:pt x="993626" y="98475"/>
                  <a:pt x="989682" y="103733"/>
                  <a:pt x="987549" y="110282"/>
                </a:cubicBezTo>
                <a:cubicBezTo>
                  <a:pt x="985416" y="116830"/>
                  <a:pt x="984349" y="128935"/>
                  <a:pt x="984349" y="146596"/>
                </a:cubicBezTo>
                <a:lnTo>
                  <a:pt x="984349" y="218182"/>
                </a:lnTo>
                <a:lnTo>
                  <a:pt x="942529" y="218182"/>
                </a:lnTo>
                <a:lnTo>
                  <a:pt x="942529" y="60127"/>
                </a:lnTo>
                <a:lnTo>
                  <a:pt x="981373" y="60127"/>
                </a:lnTo>
                <a:lnTo>
                  <a:pt x="981373" y="83344"/>
                </a:lnTo>
                <a:cubicBezTo>
                  <a:pt x="995164" y="65485"/>
                  <a:pt x="1012527" y="56555"/>
                  <a:pt x="1033463" y="56555"/>
                </a:cubicBezTo>
                <a:close/>
                <a:moveTo>
                  <a:pt x="833140" y="56555"/>
                </a:moveTo>
                <a:cubicBezTo>
                  <a:pt x="851793" y="56555"/>
                  <a:pt x="865684" y="58762"/>
                  <a:pt x="874812" y="63178"/>
                </a:cubicBezTo>
                <a:cubicBezTo>
                  <a:pt x="883940" y="67593"/>
                  <a:pt x="890364" y="73199"/>
                  <a:pt x="894085" y="79995"/>
                </a:cubicBezTo>
                <a:cubicBezTo>
                  <a:pt x="897806" y="86792"/>
                  <a:pt x="899666" y="99269"/>
                  <a:pt x="899666" y="117426"/>
                </a:cubicBezTo>
                <a:lnTo>
                  <a:pt x="899220" y="166241"/>
                </a:lnTo>
                <a:cubicBezTo>
                  <a:pt x="899220" y="180132"/>
                  <a:pt x="899889" y="190376"/>
                  <a:pt x="901229" y="196974"/>
                </a:cubicBezTo>
                <a:cubicBezTo>
                  <a:pt x="902568" y="203572"/>
                  <a:pt x="905073" y="210642"/>
                  <a:pt x="908745" y="218182"/>
                </a:cubicBezTo>
                <a:lnTo>
                  <a:pt x="867370" y="218182"/>
                </a:lnTo>
                <a:cubicBezTo>
                  <a:pt x="866279" y="215404"/>
                  <a:pt x="864939" y="211287"/>
                  <a:pt x="863352" y="205829"/>
                </a:cubicBezTo>
                <a:cubicBezTo>
                  <a:pt x="862657" y="203349"/>
                  <a:pt x="862161" y="201712"/>
                  <a:pt x="861864" y="200918"/>
                </a:cubicBezTo>
                <a:cubicBezTo>
                  <a:pt x="854720" y="207863"/>
                  <a:pt x="847080" y="213072"/>
                  <a:pt x="838944" y="216545"/>
                </a:cubicBezTo>
                <a:cubicBezTo>
                  <a:pt x="830808" y="220018"/>
                  <a:pt x="822127" y="221754"/>
                  <a:pt x="812899" y="221754"/>
                </a:cubicBezTo>
                <a:cubicBezTo>
                  <a:pt x="796627" y="221754"/>
                  <a:pt x="783803" y="217339"/>
                  <a:pt x="774427" y="208508"/>
                </a:cubicBezTo>
                <a:cubicBezTo>
                  <a:pt x="765051" y="199678"/>
                  <a:pt x="760363" y="188516"/>
                  <a:pt x="760363" y="175022"/>
                </a:cubicBezTo>
                <a:cubicBezTo>
                  <a:pt x="760363" y="166092"/>
                  <a:pt x="762496" y="158130"/>
                  <a:pt x="766763" y="151135"/>
                </a:cubicBezTo>
                <a:cubicBezTo>
                  <a:pt x="771029" y="144140"/>
                  <a:pt x="777007" y="138782"/>
                  <a:pt x="784696" y="135062"/>
                </a:cubicBezTo>
                <a:cubicBezTo>
                  <a:pt x="792386" y="131341"/>
                  <a:pt x="803473" y="128092"/>
                  <a:pt x="817959" y="125313"/>
                </a:cubicBezTo>
                <a:cubicBezTo>
                  <a:pt x="837506" y="121642"/>
                  <a:pt x="851049" y="118219"/>
                  <a:pt x="858590" y="115044"/>
                </a:cubicBezTo>
                <a:lnTo>
                  <a:pt x="858590" y="110877"/>
                </a:lnTo>
                <a:cubicBezTo>
                  <a:pt x="858590" y="102840"/>
                  <a:pt x="856605" y="97111"/>
                  <a:pt x="852637" y="93687"/>
                </a:cubicBezTo>
                <a:cubicBezTo>
                  <a:pt x="848668" y="90264"/>
                  <a:pt x="841177" y="88553"/>
                  <a:pt x="830163" y="88553"/>
                </a:cubicBezTo>
                <a:cubicBezTo>
                  <a:pt x="822722" y="88553"/>
                  <a:pt x="816918" y="90016"/>
                  <a:pt x="812751" y="92943"/>
                </a:cubicBezTo>
                <a:cubicBezTo>
                  <a:pt x="808583" y="95870"/>
                  <a:pt x="805210" y="101005"/>
                  <a:pt x="802630" y="108347"/>
                </a:cubicBezTo>
                <a:lnTo>
                  <a:pt x="764679" y="101501"/>
                </a:lnTo>
                <a:cubicBezTo>
                  <a:pt x="768945" y="86221"/>
                  <a:pt x="776288" y="74910"/>
                  <a:pt x="786706" y="67568"/>
                </a:cubicBezTo>
                <a:cubicBezTo>
                  <a:pt x="797123" y="60226"/>
                  <a:pt x="812602" y="56555"/>
                  <a:pt x="833140" y="56555"/>
                </a:cubicBezTo>
                <a:close/>
                <a:moveTo>
                  <a:pt x="374452" y="56555"/>
                </a:moveTo>
                <a:cubicBezTo>
                  <a:pt x="397966" y="56555"/>
                  <a:pt x="416520" y="64319"/>
                  <a:pt x="430113" y="79846"/>
                </a:cubicBezTo>
                <a:cubicBezTo>
                  <a:pt x="443706" y="95374"/>
                  <a:pt x="450205" y="119162"/>
                  <a:pt x="449610" y="151210"/>
                </a:cubicBezTo>
                <a:lnTo>
                  <a:pt x="344835" y="151210"/>
                </a:lnTo>
                <a:cubicBezTo>
                  <a:pt x="345133" y="163612"/>
                  <a:pt x="348506" y="173261"/>
                  <a:pt x="354955" y="180157"/>
                </a:cubicBezTo>
                <a:cubicBezTo>
                  <a:pt x="361404" y="187052"/>
                  <a:pt x="369441" y="190500"/>
                  <a:pt x="379065" y="190500"/>
                </a:cubicBezTo>
                <a:cubicBezTo>
                  <a:pt x="385614" y="190500"/>
                  <a:pt x="391120" y="188714"/>
                  <a:pt x="395585" y="185142"/>
                </a:cubicBezTo>
                <a:cubicBezTo>
                  <a:pt x="400050" y="181570"/>
                  <a:pt x="403423" y="175816"/>
                  <a:pt x="405706" y="167878"/>
                </a:cubicBezTo>
                <a:lnTo>
                  <a:pt x="447377" y="174873"/>
                </a:lnTo>
                <a:cubicBezTo>
                  <a:pt x="442020" y="190153"/>
                  <a:pt x="433561" y="201786"/>
                  <a:pt x="422002" y="209773"/>
                </a:cubicBezTo>
                <a:cubicBezTo>
                  <a:pt x="410443" y="217761"/>
                  <a:pt x="395982" y="221754"/>
                  <a:pt x="378619" y="221754"/>
                </a:cubicBezTo>
                <a:cubicBezTo>
                  <a:pt x="351135" y="221754"/>
                  <a:pt x="330795" y="212775"/>
                  <a:pt x="317599" y="194816"/>
                </a:cubicBezTo>
                <a:cubicBezTo>
                  <a:pt x="307181" y="180429"/>
                  <a:pt x="301972" y="162272"/>
                  <a:pt x="301972" y="140345"/>
                </a:cubicBezTo>
                <a:cubicBezTo>
                  <a:pt x="301972" y="114151"/>
                  <a:pt x="308818" y="93638"/>
                  <a:pt x="322511" y="78805"/>
                </a:cubicBezTo>
                <a:cubicBezTo>
                  <a:pt x="336203" y="63971"/>
                  <a:pt x="353517" y="56555"/>
                  <a:pt x="374452" y="56555"/>
                </a:cubicBezTo>
                <a:close/>
                <a:moveTo>
                  <a:pt x="44053" y="36910"/>
                </a:moveTo>
                <a:lnTo>
                  <a:pt x="44053" y="181422"/>
                </a:lnTo>
                <a:lnTo>
                  <a:pt x="76944" y="181422"/>
                </a:lnTo>
                <a:cubicBezTo>
                  <a:pt x="89247" y="181422"/>
                  <a:pt x="98127" y="180727"/>
                  <a:pt x="103585" y="179338"/>
                </a:cubicBezTo>
                <a:cubicBezTo>
                  <a:pt x="110728" y="177552"/>
                  <a:pt x="116657" y="174526"/>
                  <a:pt x="121369" y="170260"/>
                </a:cubicBezTo>
                <a:cubicBezTo>
                  <a:pt x="126082" y="165993"/>
                  <a:pt x="129927" y="158973"/>
                  <a:pt x="132904" y="149200"/>
                </a:cubicBezTo>
                <a:cubicBezTo>
                  <a:pt x="135880" y="139427"/>
                  <a:pt x="137369" y="126107"/>
                  <a:pt x="137369" y="109240"/>
                </a:cubicBezTo>
                <a:cubicBezTo>
                  <a:pt x="137369" y="92373"/>
                  <a:pt x="135880" y="79425"/>
                  <a:pt x="132904" y="70396"/>
                </a:cubicBezTo>
                <a:cubicBezTo>
                  <a:pt x="129927" y="61367"/>
                  <a:pt x="125760" y="54322"/>
                  <a:pt x="120402" y="49262"/>
                </a:cubicBezTo>
                <a:cubicBezTo>
                  <a:pt x="115044" y="44202"/>
                  <a:pt x="108248" y="40779"/>
                  <a:pt x="100013" y="38993"/>
                </a:cubicBezTo>
                <a:cubicBezTo>
                  <a:pt x="93861" y="37604"/>
                  <a:pt x="81806" y="36910"/>
                  <a:pt x="63847" y="36910"/>
                </a:cubicBezTo>
                <a:close/>
                <a:moveTo>
                  <a:pt x="606326" y="36314"/>
                </a:moveTo>
                <a:lnTo>
                  <a:pt x="606326" y="86767"/>
                </a:lnTo>
                <a:lnTo>
                  <a:pt x="635199" y="86767"/>
                </a:lnTo>
                <a:cubicBezTo>
                  <a:pt x="652363" y="86767"/>
                  <a:pt x="663029" y="86519"/>
                  <a:pt x="667197" y="86023"/>
                </a:cubicBezTo>
                <a:cubicBezTo>
                  <a:pt x="674737" y="85130"/>
                  <a:pt x="680665" y="82525"/>
                  <a:pt x="684981" y="78209"/>
                </a:cubicBezTo>
                <a:cubicBezTo>
                  <a:pt x="689298" y="73893"/>
                  <a:pt x="691456" y="68213"/>
                  <a:pt x="691456" y="61169"/>
                </a:cubicBezTo>
                <a:cubicBezTo>
                  <a:pt x="691456" y="54422"/>
                  <a:pt x="689595" y="48940"/>
                  <a:pt x="685875" y="44723"/>
                </a:cubicBezTo>
                <a:cubicBezTo>
                  <a:pt x="682154" y="40506"/>
                  <a:pt x="676622" y="37951"/>
                  <a:pt x="669280" y="37058"/>
                </a:cubicBezTo>
                <a:cubicBezTo>
                  <a:pt x="664915" y="36562"/>
                  <a:pt x="652363" y="36314"/>
                  <a:pt x="631627" y="36314"/>
                </a:cubicBezTo>
                <a:close/>
                <a:moveTo>
                  <a:pt x="1122313" y="0"/>
                </a:moveTo>
                <a:lnTo>
                  <a:pt x="1164134" y="0"/>
                </a:lnTo>
                <a:lnTo>
                  <a:pt x="1164134" y="115788"/>
                </a:lnTo>
                <a:lnTo>
                  <a:pt x="1213098" y="60127"/>
                </a:lnTo>
                <a:lnTo>
                  <a:pt x="1264593" y="60127"/>
                </a:lnTo>
                <a:lnTo>
                  <a:pt x="1210568" y="117872"/>
                </a:lnTo>
                <a:lnTo>
                  <a:pt x="1268462" y="218182"/>
                </a:lnTo>
                <a:lnTo>
                  <a:pt x="1223367" y="218182"/>
                </a:lnTo>
                <a:lnTo>
                  <a:pt x="1183630" y="147191"/>
                </a:lnTo>
                <a:lnTo>
                  <a:pt x="1164134" y="167581"/>
                </a:lnTo>
                <a:lnTo>
                  <a:pt x="1164134" y="218182"/>
                </a:lnTo>
                <a:lnTo>
                  <a:pt x="1122313" y="218182"/>
                </a:lnTo>
                <a:close/>
                <a:moveTo>
                  <a:pt x="562273" y="0"/>
                </a:moveTo>
                <a:lnTo>
                  <a:pt x="649486" y="0"/>
                </a:lnTo>
                <a:cubicBezTo>
                  <a:pt x="666750" y="0"/>
                  <a:pt x="679624" y="720"/>
                  <a:pt x="688107" y="2158"/>
                </a:cubicBezTo>
                <a:cubicBezTo>
                  <a:pt x="696590" y="3597"/>
                  <a:pt x="704180" y="6598"/>
                  <a:pt x="710878" y="11162"/>
                </a:cubicBezTo>
                <a:cubicBezTo>
                  <a:pt x="717575" y="15726"/>
                  <a:pt x="723156" y="21803"/>
                  <a:pt x="727621" y="29394"/>
                </a:cubicBezTo>
                <a:cubicBezTo>
                  <a:pt x="732086" y="36984"/>
                  <a:pt x="734318" y="45492"/>
                  <a:pt x="734318" y="54918"/>
                </a:cubicBezTo>
                <a:cubicBezTo>
                  <a:pt x="734318" y="65137"/>
                  <a:pt x="731565" y="74513"/>
                  <a:pt x="726058" y="83046"/>
                </a:cubicBezTo>
                <a:cubicBezTo>
                  <a:pt x="720551" y="91579"/>
                  <a:pt x="713085" y="97979"/>
                  <a:pt x="703659" y="102245"/>
                </a:cubicBezTo>
                <a:cubicBezTo>
                  <a:pt x="716955" y="106115"/>
                  <a:pt x="727174" y="112713"/>
                  <a:pt x="734318" y="122039"/>
                </a:cubicBezTo>
                <a:cubicBezTo>
                  <a:pt x="741462" y="131366"/>
                  <a:pt x="745034" y="142329"/>
                  <a:pt x="745034" y="154930"/>
                </a:cubicBezTo>
                <a:cubicBezTo>
                  <a:pt x="745034" y="164852"/>
                  <a:pt x="742727" y="174501"/>
                  <a:pt x="738113" y="183877"/>
                </a:cubicBezTo>
                <a:cubicBezTo>
                  <a:pt x="733499" y="193253"/>
                  <a:pt x="727199" y="200744"/>
                  <a:pt x="719212" y="206350"/>
                </a:cubicBezTo>
                <a:cubicBezTo>
                  <a:pt x="711225" y="211956"/>
                  <a:pt x="701377" y="215404"/>
                  <a:pt x="689670" y="216694"/>
                </a:cubicBezTo>
                <a:cubicBezTo>
                  <a:pt x="682327" y="217488"/>
                  <a:pt x="664617" y="217984"/>
                  <a:pt x="636538" y="218182"/>
                </a:cubicBezTo>
                <a:lnTo>
                  <a:pt x="562273" y="218182"/>
                </a:lnTo>
                <a:close/>
                <a:moveTo>
                  <a:pt x="218926" y="0"/>
                </a:moveTo>
                <a:lnTo>
                  <a:pt x="260747" y="0"/>
                </a:lnTo>
                <a:lnTo>
                  <a:pt x="260747" y="38695"/>
                </a:lnTo>
                <a:lnTo>
                  <a:pt x="218926" y="38695"/>
                </a:lnTo>
                <a:close/>
                <a:moveTo>
                  <a:pt x="0" y="0"/>
                </a:moveTo>
                <a:lnTo>
                  <a:pt x="80516" y="0"/>
                </a:lnTo>
                <a:cubicBezTo>
                  <a:pt x="98673" y="0"/>
                  <a:pt x="112514" y="1389"/>
                  <a:pt x="122039" y="4167"/>
                </a:cubicBezTo>
                <a:cubicBezTo>
                  <a:pt x="134838" y="7938"/>
                  <a:pt x="145802" y="14635"/>
                  <a:pt x="154930" y="24259"/>
                </a:cubicBezTo>
                <a:cubicBezTo>
                  <a:pt x="164058" y="33883"/>
                  <a:pt x="171004" y="45666"/>
                  <a:pt x="175766" y="59606"/>
                </a:cubicBezTo>
                <a:cubicBezTo>
                  <a:pt x="180529" y="73546"/>
                  <a:pt x="182910" y="90736"/>
                  <a:pt x="182910" y="111175"/>
                </a:cubicBezTo>
                <a:cubicBezTo>
                  <a:pt x="182910" y="129133"/>
                  <a:pt x="180677" y="144612"/>
                  <a:pt x="176213" y="157609"/>
                </a:cubicBezTo>
                <a:cubicBezTo>
                  <a:pt x="170755" y="173484"/>
                  <a:pt x="162967" y="186333"/>
                  <a:pt x="152847" y="196156"/>
                </a:cubicBezTo>
                <a:cubicBezTo>
                  <a:pt x="145207" y="203597"/>
                  <a:pt x="134888" y="209401"/>
                  <a:pt x="121890" y="213569"/>
                </a:cubicBezTo>
                <a:cubicBezTo>
                  <a:pt x="112167" y="216644"/>
                  <a:pt x="99169" y="218182"/>
                  <a:pt x="82897" y="218182"/>
                </a:cubicBezTo>
                <a:lnTo>
                  <a:pt x="0" y="21818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None/>
              <a:defRPr sz="24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ctr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None/>
              <a:defRPr sz="24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ctr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None/>
              <a:defRPr sz="24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indent="0" algn="ctr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24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indent="0" algn="ctr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24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0" indent="0" algn="ctr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24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0" indent="0" algn="ctr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24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0" indent="0" algn="ctr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24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0" indent="0" algn="ctr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24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/>
          </a:p>
        </p:txBody>
      </p:sp>
      <p:sp>
        <p:nvSpPr>
          <p:cNvPr id="22" name="Textplatzhalter 6">
            <a:extLst>
              <a:ext uri="{FF2B5EF4-FFF2-40B4-BE49-F238E27FC236}">
                <a16:creationId xmlns:a16="http://schemas.microsoft.com/office/drawing/2014/main" id="{8E073262-D595-42F0-9DF0-3D082AFDAA3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 bwMode="gray">
          <a:xfrm>
            <a:off x="8113825" y="4868863"/>
            <a:ext cx="3742678" cy="1289486"/>
          </a:xfrm>
        </p:spPr>
        <p:txBody>
          <a:bodyPr anchor="b"/>
          <a:lstStyle>
            <a:lvl1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533400" algn="l"/>
              </a:tabLst>
              <a:defRPr sz="1200" b="0">
                <a:solidFill>
                  <a:schemeClr val="tx1"/>
                </a:solidFill>
              </a:defRPr>
            </a:lvl1pPr>
            <a:lvl2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533400" algn="l"/>
              </a:tabLst>
              <a:defRPr sz="1200" b="0">
                <a:solidFill>
                  <a:schemeClr val="tx1"/>
                </a:solidFill>
              </a:defRPr>
            </a:lvl2pPr>
            <a:lvl3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533400" algn="l"/>
              </a:tabLst>
              <a:defRPr sz="1200" b="0">
                <a:solidFill>
                  <a:schemeClr val="tx1"/>
                </a:solidFill>
              </a:defRPr>
            </a:lvl3pPr>
            <a:lvl4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533400" algn="l"/>
              </a:tabLst>
              <a:defRPr sz="1200" b="0">
                <a:solidFill>
                  <a:schemeClr val="tx1"/>
                </a:solidFill>
              </a:defRPr>
            </a:lvl4pPr>
            <a:lvl5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533400" algn="l"/>
              </a:tabLst>
              <a:defRPr sz="1200" b="0">
                <a:solidFill>
                  <a:schemeClr val="tx1"/>
                </a:solidFill>
              </a:defRPr>
            </a:lvl5pPr>
            <a:lvl6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533400" algn="l"/>
              </a:tabLst>
              <a:defRPr sz="1200" b="0">
                <a:solidFill>
                  <a:schemeClr val="tx1"/>
                </a:solidFill>
              </a:defRPr>
            </a:lvl6pPr>
            <a:lvl7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533400" algn="l"/>
              </a:tabLst>
              <a:defRPr sz="1200" b="0">
                <a:solidFill>
                  <a:schemeClr val="tx1"/>
                </a:solidFill>
              </a:defRPr>
            </a:lvl7pPr>
            <a:lvl8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533400" algn="l"/>
              </a:tabLst>
              <a:defRPr sz="1200" b="0">
                <a:solidFill>
                  <a:schemeClr val="tx1"/>
                </a:solidFill>
              </a:defRPr>
            </a:lvl8pPr>
            <a:lvl9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533400" algn="l"/>
              </a:tabLst>
              <a:defRPr sz="12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63684024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 x Te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F388DE1-4495-4DD6-AE8F-CB81EF4B61BE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EFA8FABC-34B7-4C47-AF6B-7531796C8310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990DDD0E-6098-4572-9CDA-E77F9707CCC9}" type="datetime1">
              <a:rPr lang="de-DE" noProof="0" smtClean="0"/>
              <a:t>22.10.2023</a:t>
            </a:fld>
            <a:endParaRPr lang="de-DE" sz="800" noProof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35C42281-2D18-4ED8-A742-F46088366B6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pPr algn="ctr"/>
            <a:r>
              <a:rPr lang="de-DE" noProof="0"/>
              <a:t>Commerzbank AG, Max Mustermann, GM-C Brand Management 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EF63A14-DD68-4574-8C9B-28B6A68736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CAEFDB47-5D1C-45E7-8BD0-EF74349B00F7}" type="slidenum">
              <a:rPr lang="de-DE" noProof="0" smtClean="0"/>
              <a:pPr/>
              <a:t>‹#›</a:t>
            </a:fld>
            <a:endParaRPr lang="de-DE" b="0" noProof="0"/>
          </a:p>
        </p:txBody>
      </p:sp>
      <p:sp>
        <p:nvSpPr>
          <p:cNvPr id="6" name="Bildplatzhalter 8">
            <a:extLst>
              <a:ext uri="{FF2B5EF4-FFF2-40B4-BE49-F238E27FC236}">
                <a16:creationId xmlns:a16="http://schemas.microsoft.com/office/drawing/2014/main" id="{6DE0F201-347D-4763-BB5F-C93A1FE96D20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336550" y="1411288"/>
            <a:ext cx="2771775" cy="2449512"/>
          </a:xfrm>
          <a:noFill/>
        </p:spPr>
        <p:txBody>
          <a:bodyPr lIns="0" tIns="0" rIns="0" bIns="72000" anchor="b"/>
          <a:lstStyle>
            <a:lvl1pPr marL="0" indent="0" algn="ctr">
              <a:buNone/>
              <a:defRPr sz="800">
                <a:solidFill>
                  <a:schemeClr val="accent4"/>
                </a:solidFill>
              </a:defRPr>
            </a:lvl1pPr>
          </a:lstStyle>
          <a:p>
            <a:r>
              <a:rPr lang="de-DE" noProof="0"/>
              <a:t>Fügen Sie ein Bild über Klicken auf das Symbol ein. </a:t>
            </a:r>
            <a:br>
              <a:rPr lang="de-DE" noProof="0"/>
            </a:br>
            <a:br>
              <a:rPr lang="de-DE" noProof="0"/>
            </a:br>
            <a:r>
              <a:rPr lang="de-DE" noProof="0"/>
              <a:t>Alternativ kopieren Sie ein Bild in die Zwischenablage, </a:t>
            </a:r>
            <a:br>
              <a:rPr lang="de-DE" noProof="0"/>
            </a:br>
            <a:r>
              <a:rPr lang="de-DE" noProof="0"/>
              <a:t>wählen Sie den Platzhalter an und klicken Sie einfügen. </a:t>
            </a:r>
          </a:p>
        </p:txBody>
      </p:sp>
      <p:sp>
        <p:nvSpPr>
          <p:cNvPr id="17" name="Bildplatzhalter 8">
            <a:extLst>
              <a:ext uri="{FF2B5EF4-FFF2-40B4-BE49-F238E27FC236}">
                <a16:creationId xmlns:a16="http://schemas.microsoft.com/office/drawing/2014/main" id="{7028381E-328D-4918-99E6-4E5524C063CA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3250565" y="1411288"/>
            <a:ext cx="2771775" cy="2449512"/>
          </a:xfrm>
          <a:noFill/>
        </p:spPr>
        <p:txBody>
          <a:bodyPr lIns="0" tIns="0" rIns="0" bIns="72000" anchor="b"/>
          <a:lstStyle>
            <a:lvl1pPr marL="0" indent="0" algn="ctr">
              <a:buNone/>
              <a:defRPr sz="800">
                <a:solidFill>
                  <a:schemeClr val="accent4"/>
                </a:solidFill>
              </a:defRPr>
            </a:lvl1pPr>
          </a:lstStyle>
          <a:p>
            <a:r>
              <a:rPr lang="de-DE" noProof="0" dirty="0"/>
              <a:t>Fügen Sie ein Bild über Klicken auf das Symbol ein. </a:t>
            </a: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Alternativ kopieren Sie ein Bild in die Zwischenablage, </a:t>
            </a:r>
            <a:br>
              <a:rPr lang="de-DE" noProof="0" dirty="0"/>
            </a:br>
            <a:r>
              <a:rPr lang="de-DE" noProof="0" dirty="0"/>
              <a:t>wählen Sie den Platzhalter an und klicken Sie einfügen. </a:t>
            </a:r>
          </a:p>
        </p:txBody>
      </p:sp>
      <p:sp>
        <p:nvSpPr>
          <p:cNvPr id="18" name="Bildplatzhalter 8">
            <a:extLst>
              <a:ext uri="{FF2B5EF4-FFF2-40B4-BE49-F238E27FC236}">
                <a16:creationId xmlns:a16="http://schemas.microsoft.com/office/drawing/2014/main" id="{87851B64-3D55-4F9A-A78D-2B5D73336FDC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6169025" y="1411288"/>
            <a:ext cx="2771775" cy="2449512"/>
          </a:xfrm>
          <a:noFill/>
        </p:spPr>
        <p:txBody>
          <a:bodyPr lIns="0" tIns="0" rIns="0" bIns="72000" anchor="b"/>
          <a:lstStyle>
            <a:lvl1pPr marL="0" indent="0" algn="ctr">
              <a:buNone/>
              <a:defRPr sz="800">
                <a:solidFill>
                  <a:schemeClr val="accent4"/>
                </a:solidFill>
              </a:defRPr>
            </a:lvl1pPr>
          </a:lstStyle>
          <a:p>
            <a:r>
              <a:rPr lang="de-DE" noProof="0"/>
              <a:t>Fügen Sie ein Bild über Klicken auf das Symbol ein. </a:t>
            </a:r>
            <a:br>
              <a:rPr lang="de-DE" noProof="0"/>
            </a:br>
            <a:br>
              <a:rPr lang="de-DE" noProof="0"/>
            </a:br>
            <a:r>
              <a:rPr lang="de-DE" noProof="0"/>
              <a:t>Alternativ kopieren Sie ein Bild in die Zwischenablage, </a:t>
            </a:r>
            <a:br>
              <a:rPr lang="de-DE" noProof="0"/>
            </a:br>
            <a:r>
              <a:rPr lang="de-DE" noProof="0"/>
              <a:t>wählen Sie den Platzhalter an und klicken Sie einfügen. </a:t>
            </a:r>
          </a:p>
        </p:txBody>
      </p:sp>
      <p:sp>
        <p:nvSpPr>
          <p:cNvPr id="19" name="Bildplatzhalter 8">
            <a:extLst>
              <a:ext uri="{FF2B5EF4-FFF2-40B4-BE49-F238E27FC236}">
                <a16:creationId xmlns:a16="http://schemas.microsoft.com/office/drawing/2014/main" id="{BB4787BB-E7FE-4FF4-9440-F5B8CA651611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9087485" y="1411288"/>
            <a:ext cx="2771775" cy="2449512"/>
          </a:xfrm>
          <a:noFill/>
        </p:spPr>
        <p:txBody>
          <a:bodyPr lIns="0" tIns="0" rIns="0" bIns="72000" anchor="b"/>
          <a:lstStyle>
            <a:lvl1pPr marL="0" indent="0" algn="ctr">
              <a:buNone/>
              <a:defRPr sz="800">
                <a:solidFill>
                  <a:schemeClr val="accent4"/>
                </a:solidFill>
              </a:defRPr>
            </a:lvl1pPr>
          </a:lstStyle>
          <a:p>
            <a:r>
              <a:rPr lang="de-DE" noProof="0"/>
              <a:t>Fügen Sie ein Bild über Klicken auf das Symbol ein. </a:t>
            </a:r>
            <a:br>
              <a:rPr lang="de-DE" noProof="0"/>
            </a:br>
            <a:br>
              <a:rPr lang="de-DE" noProof="0"/>
            </a:br>
            <a:r>
              <a:rPr lang="de-DE" noProof="0"/>
              <a:t>Alternativ kopieren Sie ein Bild in die Zwischenablage, </a:t>
            </a:r>
            <a:br>
              <a:rPr lang="de-DE" noProof="0"/>
            </a:br>
            <a:r>
              <a:rPr lang="de-DE" noProof="0"/>
              <a:t>wählen Sie den Platzhalter an und klicken Sie einfügen. </a:t>
            </a:r>
          </a:p>
        </p:txBody>
      </p:sp>
      <p:sp>
        <p:nvSpPr>
          <p:cNvPr id="14" name="Textplatzhalter 14">
            <a:extLst>
              <a:ext uri="{FF2B5EF4-FFF2-40B4-BE49-F238E27FC236}">
                <a16:creationId xmlns:a16="http://schemas.microsoft.com/office/drawing/2014/main" id="{1FC0D689-21D1-4F05-B548-5623C985075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336550" y="4005263"/>
            <a:ext cx="2771775" cy="2447926"/>
          </a:xfrm>
        </p:spPr>
        <p:txBody>
          <a:bodyPr tIns="0" rIns="144000"/>
          <a:lstStyle>
            <a:lvl1pPr marL="0" indent="0">
              <a:lnSpc>
                <a:spcPct val="90000"/>
              </a:lnSpc>
              <a:spcAft>
                <a:spcPts val="600"/>
              </a:spcAft>
              <a:buNone/>
              <a:defRPr sz="1800" b="1"/>
            </a:lvl1pPr>
            <a:lvl2pPr marL="0" indent="0">
              <a:spcBef>
                <a:spcPts val="0"/>
              </a:spcBef>
              <a:spcAft>
                <a:spcPts val="600"/>
              </a:spcAft>
              <a:buNone/>
              <a:defRPr/>
            </a:lvl2pPr>
            <a:lvl3pPr marL="180000">
              <a:defRPr/>
            </a:lvl3pPr>
            <a:lvl4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4pPr>
            <a:lvl5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5pPr>
            <a:lvl6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6pPr>
            <a:lvl7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7pPr>
            <a:lvl8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8pPr>
            <a:lvl9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/>
              <a:t>Name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endParaRPr lang="de-DE" noProof="0"/>
          </a:p>
        </p:txBody>
      </p:sp>
      <p:sp>
        <p:nvSpPr>
          <p:cNvPr id="23" name="Textplatzhalter 14">
            <a:extLst>
              <a:ext uri="{FF2B5EF4-FFF2-40B4-BE49-F238E27FC236}">
                <a16:creationId xmlns:a16="http://schemas.microsoft.com/office/drawing/2014/main" id="{6A8E6CF0-88E6-4258-83B1-724B243BC18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3250565" y="4005263"/>
            <a:ext cx="2771775" cy="2447926"/>
          </a:xfrm>
        </p:spPr>
        <p:txBody>
          <a:bodyPr tIns="0" rIns="144000"/>
          <a:lstStyle>
            <a:lvl1pPr marL="0" indent="0">
              <a:lnSpc>
                <a:spcPct val="90000"/>
              </a:lnSpc>
              <a:spcAft>
                <a:spcPts val="600"/>
              </a:spcAft>
              <a:buNone/>
              <a:defRPr sz="1800" b="1"/>
            </a:lvl1pPr>
            <a:lvl2pPr marL="0" indent="0">
              <a:spcBef>
                <a:spcPts val="0"/>
              </a:spcBef>
              <a:spcAft>
                <a:spcPts val="600"/>
              </a:spcAft>
              <a:buNone/>
              <a:defRPr/>
            </a:lvl2pPr>
            <a:lvl3pPr marL="180000">
              <a:defRPr/>
            </a:lvl3pPr>
            <a:lvl4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4pPr>
            <a:lvl5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5pPr>
            <a:lvl6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6pPr>
            <a:lvl7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7pPr>
            <a:lvl8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8pPr>
            <a:lvl9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/>
              <a:t>Name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endParaRPr lang="de-DE" noProof="0"/>
          </a:p>
        </p:txBody>
      </p:sp>
      <p:sp>
        <p:nvSpPr>
          <p:cNvPr id="24" name="Textplatzhalter 14">
            <a:extLst>
              <a:ext uri="{FF2B5EF4-FFF2-40B4-BE49-F238E27FC236}">
                <a16:creationId xmlns:a16="http://schemas.microsoft.com/office/drawing/2014/main" id="{C73755DD-5FC0-4227-B564-A663EE50AE7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6169025" y="4005263"/>
            <a:ext cx="2771775" cy="2447926"/>
          </a:xfrm>
        </p:spPr>
        <p:txBody>
          <a:bodyPr tIns="0" rIns="144000"/>
          <a:lstStyle>
            <a:lvl1pPr marL="0" indent="0">
              <a:lnSpc>
                <a:spcPct val="90000"/>
              </a:lnSpc>
              <a:spcAft>
                <a:spcPts val="600"/>
              </a:spcAft>
              <a:buNone/>
              <a:defRPr sz="1800" b="1"/>
            </a:lvl1pPr>
            <a:lvl2pPr marL="0" indent="0">
              <a:spcBef>
                <a:spcPts val="0"/>
              </a:spcBef>
              <a:spcAft>
                <a:spcPts val="600"/>
              </a:spcAft>
              <a:buNone/>
              <a:defRPr/>
            </a:lvl2pPr>
            <a:lvl3pPr marL="180000">
              <a:defRPr/>
            </a:lvl3pPr>
            <a:lvl4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4pPr>
            <a:lvl5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5pPr>
            <a:lvl6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6pPr>
            <a:lvl7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7pPr>
            <a:lvl8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8pPr>
            <a:lvl9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/>
              <a:t>Name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endParaRPr lang="de-DE" noProof="0"/>
          </a:p>
        </p:txBody>
      </p:sp>
      <p:sp>
        <p:nvSpPr>
          <p:cNvPr id="25" name="Textplatzhalter 14">
            <a:extLst>
              <a:ext uri="{FF2B5EF4-FFF2-40B4-BE49-F238E27FC236}">
                <a16:creationId xmlns:a16="http://schemas.microsoft.com/office/drawing/2014/main" id="{3190325B-B1A6-40A7-9F37-FEF63E54B26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9087485" y="4005263"/>
            <a:ext cx="2771775" cy="2447926"/>
          </a:xfrm>
        </p:spPr>
        <p:txBody>
          <a:bodyPr tIns="0" rIns="144000"/>
          <a:lstStyle>
            <a:lvl1pPr marL="0" indent="0">
              <a:lnSpc>
                <a:spcPct val="90000"/>
              </a:lnSpc>
              <a:spcAft>
                <a:spcPts val="600"/>
              </a:spcAft>
              <a:buNone/>
              <a:defRPr sz="1800" b="1"/>
            </a:lvl1pPr>
            <a:lvl2pPr marL="0" indent="0">
              <a:spcBef>
                <a:spcPts val="0"/>
              </a:spcBef>
              <a:spcAft>
                <a:spcPts val="600"/>
              </a:spcAft>
              <a:buNone/>
              <a:defRPr/>
            </a:lvl2pPr>
            <a:lvl3pPr marL="180000">
              <a:defRPr/>
            </a:lvl3pPr>
            <a:lvl4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4pPr>
            <a:lvl5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5pPr>
            <a:lvl6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6pPr>
            <a:lvl7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7pPr>
            <a:lvl8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8pPr>
            <a:lvl9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/>
              <a:t>Name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2335854048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 x Te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F388DE1-4495-4DD6-AE8F-CB81EF4B61BE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EFA8FABC-34B7-4C47-AF6B-7531796C8310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B42C1DAD-86BF-4EB7-8B9F-8B44A96AC5F8}" type="datetime1">
              <a:rPr lang="de-DE" noProof="0" smtClean="0"/>
              <a:t>22.10.2023</a:t>
            </a:fld>
            <a:endParaRPr lang="de-DE" sz="800" noProof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35C42281-2D18-4ED8-A742-F46088366B6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pPr algn="ctr"/>
            <a:r>
              <a:rPr lang="de-DE" noProof="0"/>
              <a:t>Commerzbank AG, Max Mustermann, GM-C Brand Management 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EF63A14-DD68-4574-8C9B-28B6A68736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>
          <a:xfrm>
            <a:off x="11280774" y="6453188"/>
            <a:ext cx="574675" cy="404812"/>
          </a:xfrm>
        </p:spPr>
        <p:txBody>
          <a:bodyPr/>
          <a:lstStyle/>
          <a:p>
            <a:fld id="{CAEFDB47-5D1C-45E7-8BD0-EF74349B00F7}" type="slidenum">
              <a:rPr lang="de-DE" noProof="0" smtClean="0"/>
              <a:pPr/>
              <a:t>‹#›</a:t>
            </a:fld>
            <a:endParaRPr lang="de-DE" b="0" noProof="0"/>
          </a:p>
        </p:txBody>
      </p:sp>
      <p:sp>
        <p:nvSpPr>
          <p:cNvPr id="6" name="Bildplatzhalter 8">
            <a:extLst>
              <a:ext uri="{FF2B5EF4-FFF2-40B4-BE49-F238E27FC236}">
                <a16:creationId xmlns:a16="http://schemas.microsoft.com/office/drawing/2014/main" id="{6DE0F201-347D-4763-BB5F-C93A1FE96D20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336550" y="1411288"/>
            <a:ext cx="1799009" cy="1585912"/>
          </a:xfrm>
          <a:noFill/>
        </p:spPr>
        <p:txBody>
          <a:bodyPr lIns="0" tIns="0" rIns="0" bIns="0" anchor="ctr"/>
          <a:lstStyle>
            <a:lvl1pPr marL="0" indent="0" algn="ctr">
              <a:buNone/>
              <a:defRPr sz="800">
                <a:solidFill>
                  <a:schemeClr val="accent4"/>
                </a:solidFill>
              </a:defRPr>
            </a:lvl1pPr>
          </a:lstStyle>
          <a:p>
            <a:r>
              <a:rPr lang="de-DE" noProof="0"/>
              <a:t>Fügen Sie ein Bild über Klicken auf das Symbol ein. </a:t>
            </a:r>
            <a:br>
              <a:rPr lang="de-DE" noProof="0"/>
            </a:br>
            <a:br>
              <a:rPr lang="de-DE" noProof="0"/>
            </a:br>
            <a:r>
              <a:rPr lang="de-DE" noProof="0"/>
              <a:t>Alternativ kopieren Sie ein Bild in die Zwischenablage, </a:t>
            </a:r>
            <a:br>
              <a:rPr lang="de-DE" noProof="0"/>
            </a:br>
            <a:r>
              <a:rPr lang="de-DE" noProof="0"/>
              <a:t>wählen Sie den Platzhalter an und klicken Sie einfügen. </a:t>
            </a:r>
          </a:p>
        </p:txBody>
      </p:sp>
      <p:sp>
        <p:nvSpPr>
          <p:cNvPr id="17" name="Bildplatzhalter 8">
            <a:extLst>
              <a:ext uri="{FF2B5EF4-FFF2-40B4-BE49-F238E27FC236}">
                <a16:creationId xmlns:a16="http://schemas.microsoft.com/office/drawing/2014/main" id="{7028381E-328D-4918-99E6-4E5524C063CA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4224338" y="1411288"/>
            <a:ext cx="1800225" cy="1585912"/>
          </a:xfrm>
          <a:noFill/>
        </p:spPr>
        <p:txBody>
          <a:bodyPr lIns="0" tIns="0" rIns="0" bIns="0" anchor="ctr"/>
          <a:lstStyle>
            <a:lvl1pPr marL="0" indent="0" algn="ctr">
              <a:buNone/>
              <a:defRPr sz="800">
                <a:solidFill>
                  <a:schemeClr val="accent4"/>
                </a:solidFill>
              </a:defRPr>
            </a:lvl1pPr>
          </a:lstStyle>
          <a:p>
            <a:r>
              <a:rPr lang="de-DE" noProof="0"/>
              <a:t>Fügen Sie ein Bild über Klicken auf das Symbol ein. </a:t>
            </a:r>
            <a:br>
              <a:rPr lang="de-DE" noProof="0"/>
            </a:br>
            <a:br>
              <a:rPr lang="de-DE" noProof="0"/>
            </a:br>
            <a:r>
              <a:rPr lang="de-DE" noProof="0"/>
              <a:t>Alternativ kopieren Sie ein Bild in die Zwischenablage, </a:t>
            </a:r>
            <a:br>
              <a:rPr lang="de-DE" noProof="0"/>
            </a:br>
            <a:r>
              <a:rPr lang="de-DE" noProof="0"/>
              <a:t>wählen Sie den Platzhalter an und klicken Sie einfügen. </a:t>
            </a:r>
          </a:p>
        </p:txBody>
      </p:sp>
      <p:sp>
        <p:nvSpPr>
          <p:cNvPr id="18" name="Bildplatzhalter 8">
            <a:extLst>
              <a:ext uri="{FF2B5EF4-FFF2-40B4-BE49-F238E27FC236}">
                <a16:creationId xmlns:a16="http://schemas.microsoft.com/office/drawing/2014/main" id="{87851B64-3D55-4F9A-A78D-2B5D73336FDC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8112124" y="1411288"/>
            <a:ext cx="1800299" cy="1585912"/>
          </a:xfrm>
          <a:noFill/>
        </p:spPr>
        <p:txBody>
          <a:bodyPr lIns="0" tIns="0" rIns="0" bIns="0" anchor="ctr"/>
          <a:lstStyle>
            <a:lvl1pPr marL="0" indent="0" algn="ctr">
              <a:buNone/>
              <a:defRPr sz="800">
                <a:solidFill>
                  <a:schemeClr val="accent4"/>
                </a:solidFill>
              </a:defRPr>
            </a:lvl1pPr>
          </a:lstStyle>
          <a:p>
            <a:r>
              <a:rPr lang="de-DE" noProof="0"/>
              <a:t>Fügen Sie ein Bild über Klicken auf das Symbol ein. </a:t>
            </a:r>
            <a:br>
              <a:rPr lang="de-DE" noProof="0"/>
            </a:br>
            <a:br>
              <a:rPr lang="de-DE" noProof="0"/>
            </a:br>
            <a:r>
              <a:rPr lang="de-DE" noProof="0"/>
              <a:t>Alternativ kopieren Sie ein Bild in die Zwischenablage, </a:t>
            </a:r>
            <a:br>
              <a:rPr lang="de-DE" noProof="0"/>
            </a:br>
            <a:r>
              <a:rPr lang="de-DE" noProof="0"/>
              <a:t>wählen Sie den Platzhalter an und klicken Sie einfügen. </a:t>
            </a:r>
          </a:p>
        </p:txBody>
      </p:sp>
      <p:sp>
        <p:nvSpPr>
          <p:cNvPr id="19" name="Bildplatzhalter 8">
            <a:extLst>
              <a:ext uri="{FF2B5EF4-FFF2-40B4-BE49-F238E27FC236}">
                <a16:creationId xmlns:a16="http://schemas.microsoft.com/office/drawing/2014/main" id="{BB4787BB-E7FE-4FF4-9440-F5B8CA651611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336550" y="4005263"/>
            <a:ext cx="1799010" cy="1583977"/>
          </a:xfrm>
          <a:noFill/>
        </p:spPr>
        <p:txBody>
          <a:bodyPr lIns="0" tIns="0" rIns="0" bIns="0" anchor="ctr"/>
          <a:lstStyle>
            <a:lvl1pPr marL="0" indent="0" algn="ctr">
              <a:buNone/>
              <a:defRPr sz="800">
                <a:solidFill>
                  <a:schemeClr val="accent4"/>
                </a:solidFill>
              </a:defRPr>
            </a:lvl1pPr>
          </a:lstStyle>
          <a:p>
            <a:r>
              <a:rPr lang="de-DE" noProof="0"/>
              <a:t>Fügen Sie ein Bild über Klicken auf das Symbol ein. </a:t>
            </a:r>
            <a:br>
              <a:rPr lang="de-DE" noProof="0"/>
            </a:br>
            <a:br>
              <a:rPr lang="de-DE" noProof="0"/>
            </a:br>
            <a:r>
              <a:rPr lang="de-DE" noProof="0"/>
              <a:t>Alternativ kopieren Sie ein Bild in die Zwischenablage, </a:t>
            </a:r>
            <a:br>
              <a:rPr lang="de-DE" noProof="0"/>
            </a:br>
            <a:r>
              <a:rPr lang="de-DE" noProof="0"/>
              <a:t>wählen Sie den Platzhalter an und klicken Sie einfügen. </a:t>
            </a:r>
          </a:p>
        </p:txBody>
      </p:sp>
      <p:sp>
        <p:nvSpPr>
          <p:cNvPr id="14" name="Bildplatzhalter 8">
            <a:extLst>
              <a:ext uri="{FF2B5EF4-FFF2-40B4-BE49-F238E27FC236}">
                <a16:creationId xmlns:a16="http://schemas.microsoft.com/office/drawing/2014/main" id="{AFD9531D-D28C-4494-8AEA-67DB0D62B1CE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 bwMode="gray">
          <a:xfrm>
            <a:off x="4224338" y="4005263"/>
            <a:ext cx="1800225" cy="1584325"/>
          </a:xfrm>
          <a:noFill/>
        </p:spPr>
        <p:txBody>
          <a:bodyPr lIns="0" tIns="0" rIns="0" bIns="0" anchor="ctr"/>
          <a:lstStyle>
            <a:lvl1pPr marL="0" indent="0" algn="ctr">
              <a:buNone/>
              <a:defRPr sz="800">
                <a:solidFill>
                  <a:schemeClr val="accent4"/>
                </a:solidFill>
              </a:defRPr>
            </a:lvl1pPr>
          </a:lstStyle>
          <a:p>
            <a:r>
              <a:rPr lang="de-DE" noProof="0"/>
              <a:t>Fügen Sie ein Bild über Klicken auf das Symbol ein. </a:t>
            </a:r>
            <a:br>
              <a:rPr lang="de-DE" noProof="0"/>
            </a:br>
            <a:br>
              <a:rPr lang="de-DE" noProof="0"/>
            </a:br>
            <a:r>
              <a:rPr lang="de-DE" noProof="0"/>
              <a:t>Alternativ kopieren Sie ein Bild in die Zwischenablage, </a:t>
            </a:r>
            <a:br>
              <a:rPr lang="de-DE" noProof="0"/>
            </a:br>
            <a:r>
              <a:rPr lang="de-DE" noProof="0"/>
              <a:t>wählen Sie den Platzhalter an und klicken Sie einfügen. </a:t>
            </a:r>
          </a:p>
        </p:txBody>
      </p:sp>
      <p:sp>
        <p:nvSpPr>
          <p:cNvPr id="16" name="Bildplatzhalter 8">
            <a:extLst>
              <a:ext uri="{FF2B5EF4-FFF2-40B4-BE49-F238E27FC236}">
                <a16:creationId xmlns:a16="http://schemas.microsoft.com/office/drawing/2014/main" id="{5DF72A33-7BB7-481A-BDD9-873F8214A1A8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 bwMode="gray">
          <a:xfrm>
            <a:off x="8112125" y="4005263"/>
            <a:ext cx="1800299" cy="1583977"/>
          </a:xfrm>
          <a:noFill/>
        </p:spPr>
        <p:txBody>
          <a:bodyPr lIns="0" tIns="0" rIns="0" bIns="0" anchor="ctr"/>
          <a:lstStyle>
            <a:lvl1pPr marL="0" indent="0" algn="ctr">
              <a:buNone/>
              <a:defRPr sz="800">
                <a:solidFill>
                  <a:schemeClr val="accent4"/>
                </a:solidFill>
              </a:defRPr>
            </a:lvl1pPr>
          </a:lstStyle>
          <a:p>
            <a:r>
              <a:rPr lang="de-DE" noProof="0"/>
              <a:t>Fügen Sie ein Bild über Klicken auf das Symbol ein. </a:t>
            </a:r>
            <a:br>
              <a:rPr lang="de-DE" noProof="0"/>
            </a:br>
            <a:br>
              <a:rPr lang="de-DE" noProof="0"/>
            </a:br>
            <a:r>
              <a:rPr lang="de-DE" noProof="0"/>
              <a:t>Alternativ kopieren Sie ein Bild in die Zwischenablage, </a:t>
            </a:r>
            <a:br>
              <a:rPr lang="de-DE" noProof="0"/>
            </a:br>
            <a:r>
              <a:rPr lang="de-DE" noProof="0"/>
              <a:t>wählen Sie den Platzhalter an und klicken Sie einfügen. </a:t>
            </a:r>
          </a:p>
        </p:txBody>
      </p:sp>
      <p:sp>
        <p:nvSpPr>
          <p:cNvPr id="21" name="Textplatzhalter 14">
            <a:extLst>
              <a:ext uri="{FF2B5EF4-FFF2-40B4-BE49-F238E27FC236}">
                <a16:creationId xmlns:a16="http://schemas.microsoft.com/office/drawing/2014/main" id="{D7640FDE-7410-4915-92EE-5E966352203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2279551" y="1411288"/>
            <a:ext cx="1800225" cy="2447926"/>
          </a:xfrm>
        </p:spPr>
        <p:txBody>
          <a:bodyPr tIns="0" rIns="144000"/>
          <a:lstStyle>
            <a:lvl1pPr marL="0" indent="0">
              <a:lnSpc>
                <a:spcPct val="90000"/>
              </a:lnSpc>
              <a:spcAft>
                <a:spcPts val="600"/>
              </a:spcAft>
              <a:buNone/>
              <a:defRPr sz="1400" b="1"/>
            </a:lvl1pPr>
            <a:lvl2pPr marL="0" indent="0">
              <a:spcBef>
                <a:spcPts val="0"/>
              </a:spcBef>
              <a:spcAft>
                <a:spcPts val="600"/>
              </a:spcAft>
              <a:buNone/>
              <a:defRPr/>
            </a:lvl2pPr>
            <a:lvl3pPr marL="180000">
              <a:defRPr/>
            </a:lvl3pPr>
            <a:lvl4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4pPr>
            <a:lvl5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5pPr>
            <a:lvl6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6pPr>
            <a:lvl7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7pPr>
            <a:lvl8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8pPr>
            <a:lvl9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/>
              <a:t>Name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endParaRPr lang="de-DE" noProof="0"/>
          </a:p>
        </p:txBody>
      </p:sp>
      <p:sp>
        <p:nvSpPr>
          <p:cNvPr id="22" name="Textplatzhalter 14">
            <a:extLst>
              <a:ext uri="{FF2B5EF4-FFF2-40B4-BE49-F238E27FC236}">
                <a16:creationId xmlns:a16="http://schemas.microsoft.com/office/drawing/2014/main" id="{F266778B-D2C6-4F88-99A0-B3CDF5745D1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6167387" y="1411288"/>
            <a:ext cx="1800225" cy="2447926"/>
          </a:xfrm>
        </p:spPr>
        <p:txBody>
          <a:bodyPr tIns="0" rIns="144000"/>
          <a:lstStyle>
            <a:lvl1pPr marL="0" indent="0">
              <a:lnSpc>
                <a:spcPct val="90000"/>
              </a:lnSpc>
              <a:spcAft>
                <a:spcPts val="600"/>
              </a:spcAft>
              <a:buNone/>
              <a:defRPr sz="1400" b="1"/>
            </a:lvl1pPr>
            <a:lvl2pPr marL="0" indent="0">
              <a:spcBef>
                <a:spcPts val="0"/>
              </a:spcBef>
              <a:spcAft>
                <a:spcPts val="600"/>
              </a:spcAft>
              <a:buNone/>
              <a:defRPr/>
            </a:lvl2pPr>
            <a:lvl3pPr marL="180000">
              <a:defRPr/>
            </a:lvl3pPr>
            <a:lvl4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4pPr>
            <a:lvl5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5pPr>
            <a:lvl6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6pPr>
            <a:lvl7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7pPr>
            <a:lvl8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8pPr>
            <a:lvl9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/>
              <a:t>Name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endParaRPr lang="de-DE" noProof="0"/>
          </a:p>
        </p:txBody>
      </p:sp>
      <p:sp>
        <p:nvSpPr>
          <p:cNvPr id="26" name="Textplatzhalter 14">
            <a:extLst>
              <a:ext uri="{FF2B5EF4-FFF2-40B4-BE49-F238E27FC236}">
                <a16:creationId xmlns:a16="http://schemas.microsoft.com/office/drawing/2014/main" id="{D8FED350-D682-4E24-9FD1-805C63A0EAA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10055224" y="1411288"/>
            <a:ext cx="1800225" cy="2447926"/>
          </a:xfrm>
        </p:spPr>
        <p:txBody>
          <a:bodyPr tIns="0" rIns="144000"/>
          <a:lstStyle>
            <a:lvl1pPr marL="0" indent="0">
              <a:lnSpc>
                <a:spcPct val="90000"/>
              </a:lnSpc>
              <a:spcAft>
                <a:spcPts val="600"/>
              </a:spcAft>
              <a:buNone/>
              <a:defRPr sz="1400" b="1"/>
            </a:lvl1pPr>
            <a:lvl2pPr marL="0" indent="0">
              <a:spcBef>
                <a:spcPts val="0"/>
              </a:spcBef>
              <a:spcAft>
                <a:spcPts val="600"/>
              </a:spcAft>
              <a:buNone/>
              <a:defRPr/>
            </a:lvl2pPr>
            <a:lvl3pPr marL="180000">
              <a:defRPr/>
            </a:lvl3pPr>
            <a:lvl4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4pPr>
            <a:lvl5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5pPr>
            <a:lvl6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6pPr>
            <a:lvl7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7pPr>
            <a:lvl8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8pPr>
            <a:lvl9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/>
              <a:t>Name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endParaRPr lang="de-DE" noProof="0"/>
          </a:p>
        </p:txBody>
      </p:sp>
      <p:sp>
        <p:nvSpPr>
          <p:cNvPr id="33" name="Textplatzhalter 14">
            <a:extLst>
              <a:ext uri="{FF2B5EF4-FFF2-40B4-BE49-F238E27FC236}">
                <a16:creationId xmlns:a16="http://schemas.microsoft.com/office/drawing/2014/main" id="{FEDD2576-803F-41A3-8A60-6AF31E78CE6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2279551" y="4005263"/>
            <a:ext cx="1800225" cy="2447926"/>
          </a:xfrm>
        </p:spPr>
        <p:txBody>
          <a:bodyPr tIns="0" rIns="144000"/>
          <a:lstStyle>
            <a:lvl1pPr marL="0" indent="0">
              <a:lnSpc>
                <a:spcPct val="90000"/>
              </a:lnSpc>
              <a:spcAft>
                <a:spcPts val="600"/>
              </a:spcAft>
              <a:buNone/>
              <a:defRPr sz="1400" b="1"/>
            </a:lvl1pPr>
            <a:lvl2pPr marL="0" indent="0">
              <a:spcBef>
                <a:spcPts val="0"/>
              </a:spcBef>
              <a:spcAft>
                <a:spcPts val="600"/>
              </a:spcAft>
              <a:buNone/>
              <a:defRPr/>
            </a:lvl2pPr>
            <a:lvl3pPr marL="180000">
              <a:defRPr/>
            </a:lvl3pPr>
            <a:lvl4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4pPr>
            <a:lvl5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5pPr>
            <a:lvl6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6pPr>
            <a:lvl7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7pPr>
            <a:lvl8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8pPr>
            <a:lvl9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/>
              <a:t>Name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endParaRPr lang="de-DE" noProof="0"/>
          </a:p>
        </p:txBody>
      </p:sp>
      <p:sp>
        <p:nvSpPr>
          <p:cNvPr id="34" name="Textplatzhalter 14">
            <a:extLst>
              <a:ext uri="{FF2B5EF4-FFF2-40B4-BE49-F238E27FC236}">
                <a16:creationId xmlns:a16="http://schemas.microsoft.com/office/drawing/2014/main" id="{A7FA28E5-D15A-4E79-8C10-420812F0BFC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6167387" y="4005263"/>
            <a:ext cx="1800225" cy="2447926"/>
          </a:xfrm>
        </p:spPr>
        <p:txBody>
          <a:bodyPr tIns="0" rIns="144000"/>
          <a:lstStyle>
            <a:lvl1pPr marL="0" indent="0">
              <a:lnSpc>
                <a:spcPct val="90000"/>
              </a:lnSpc>
              <a:spcAft>
                <a:spcPts val="600"/>
              </a:spcAft>
              <a:buNone/>
              <a:defRPr sz="1400" b="1"/>
            </a:lvl1pPr>
            <a:lvl2pPr marL="0" indent="0">
              <a:spcBef>
                <a:spcPts val="0"/>
              </a:spcBef>
              <a:spcAft>
                <a:spcPts val="600"/>
              </a:spcAft>
              <a:buNone/>
              <a:defRPr/>
            </a:lvl2pPr>
            <a:lvl3pPr marL="180000">
              <a:defRPr/>
            </a:lvl3pPr>
            <a:lvl4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4pPr>
            <a:lvl5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5pPr>
            <a:lvl6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6pPr>
            <a:lvl7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7pPr>
            <a:lvl8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8pPr>
            <a:lvl9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/>
              <a:t>Name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endParaRPr lang="de-DE" noProof="0"/>
          </a:p>
        </p:txBody>
      </p:sp>
      <p:sp>
        <p:nvSpPr>
          <p:cNvPr id="35" name="Textplatzhalter 14">
            <a:extLst>
              <a:ext uri="{FF2B5EF4-FFF2-40B4-BE49-F238E27FC236}">
                <a16:creationId xmlns:a16="http://schemas.microsoft.com/office/drawing/2014/main" id="{ED35C739-05BA-4B26-BE5F-409001E94A95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10055224" y="4005263"/>
            <a:ext cx="1800225" cy="2447926"/>
          </a:xfrm>
        </p:spPr>
        <p:txBody>
          <a:bodyPr tIns="0" rIns="144000"/>
          <a:lstStyle>
            <a:lvl1pPr marL="0" indent="0">
              <a:lnSpc>
                <a:spcPct val="90000"/>
              </a:lnSpc>
              <a:spcAft>
                <a:spcPts val="600"/>
              </a:spcAft>
              <a:buNone/>
              <a:defRPr sz="1400" b="1"/>
            </a:lvl1pPr>
            <a:lvl2pPr marL="0" indent="0">
              <a:spcBef>
                <a:spcPts val="0"/>
              </a:spcBef>
              <a:spcAft>
                <a:spcPts val="600"/>
              </a:spcAft>
              <a:buNone/>
              <a:defRPr/>
            </a:lvl2pPr>
            <a:lvl3pPr marL="180000">
              <a:defRPr/>
            </a:lvl3pPr>
            <a:lvl4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4pPr>
            <a:lvl5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5pPr>
            <a:lvl6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6pPr>
            <a:lvl7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7pPr>
            <a:lvl8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8pPr>
            <a:lvl9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/>
              <a:t>Name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1463599923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8B516798-E4B4-4414-AB3E-309373984668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>
          <a:xfrm>
            <a:off x="336550" y="6936246"/>
            <a:ext cx="0" cy="0"/>
          </a:xfrm>
        </p:spPr>
        <p:txBody>
          <a:bodyPr/>
          <a:lstStyle>
            <a:lvl1pPr>
              <a:defRPr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fld id="{CFF34BCF-05FC-4868-84C5-00EB00BCFE0E}" type="datetime1">
              <a:rPr lang="de-DE" noProof="0" smtClean="0"/>
              <a:t>22.10.2023</a:t>
            </a:fld>
            <a:endParaRPr lang="de-DE" noProof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CEABE745-C331-4E9F-83AF-E0923547ADB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>
          <a:xfrm>
            <a:off x="336550" y="6936246"/>
            <a:ext cx="0" cy="0"/>
          </a:xfrm>
        </p:spPr>
        <p:txBody>
          <a:bodyPr/>
          <a:lstStyle>
            <a:lvl1pPr>
              <a:defRPr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r>
              <a:rPr lang="de-DE" noProof="0"/>
              <a:t>Commerzbank AG, Max Mustermann, GM-C Brand Management 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CEC9D6A-EEDB-4842-8E50-B62D4608E5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>
          <a:xfrm>
            <a:off x="336550" y="6936246"/>
            <a:ext cx="0" cy="0"/>
          </a:xfrm>
        </p:spPr>
        <p:txBody>
          <a:bodyPr/>
          <a:lstStyle>
            <a:lvl1pPr>
              <a:defRPr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fld id="{CAEFDB47-5D1C-45E7-8BD0-EF74349B00F7}" type="slidenum">
              <a:rPr lang="de-DE" noProof="0" smtClean="0"/>
              <a:pPr/>
              <a:t>‹#›</a:t>
            </a:fld>
            <a:endParaRPr lang="de-DE" noProof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2ADF7C12-E2EB-5514-8054-0AA76AF29A1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tretch/>
        </p:blipFill>
        <p:spPr>
          <a:xfrm>
            <a:off x="4969566" y="2678044"/>
            <a:ext cx="2252868" cy="15019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9576933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 Petrol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8B516798-E4B4-4414-AB3E-309373984668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invGray">
          <a:xfrm>
            <a:off x="336550" y="6936246"/>
            <a:ext cx="0" cy="0"/>
          </a:xfrm>
        </p:spPr>
        <p:txBody>
          <a:bodyPr/>
          <a:lstStyle>
            <a:lvl1pPr>
              <a:defRPr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fld id="{CFF34BCF-05FC-4868-84C5-00EB00BCFE0E}" type="datetime1">
              <a:rPr lang="de-DE" noProof="0" smtClean="0"/>
              <a:t>22.10.2023</a:t>
            </a:fld>
            <a:endParaRPr lang="de-DE" noProof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CEABE745-C331-4E9F-83AF-E0923547ADB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invGray">
          <a:xfrm>
            <a:off x="336550" y="6936246"/>
            <a:ext cx="0" cy="0"/>
          </a:xfrm>
        </p:spPr>
        <p:txBody>
          <a:bodyPr/>
          <a:lstStyle>
            <a:lvl1pPr>
              <a:defRPr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r>
              <a:rPr lang="de-DE" noProof="0"/>
              <a:t>Commerzbank AG, Max Mustermann, GM-C Brand Management 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CEC9D6A-EEDB-4842-8E50-B62D4608E5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invGray">
          <a:xfrm>
            <a:off x="336550" y="6936246"/>
            <a:ext cx="0" cy="0"/>
          </a:xfrm>
        </p:spPr>
        <p:txBody>
          <a:bodyPr/>
          <a:lstStyle>
            <a:lvl1pPr>
              <a:defRPr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fld id="{CAEFDB47-5D1C-45E7-8BD0-EF74349B00F7}" type="slidenum">
              <a:rPr lang="de-DE" noProof="0" smtClean="0"/>
              <a:pPr/>
              <a:t>‹#›</a:t>
            </a:fld>
            <a:endParaRPr lang="de-DE" noProof="0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BB817328-8EA6-4F9B-CD28-029E3BC1C89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invGray">
          <a:xfrm>
            <a:off x="4969564" y="2678047"/>
            <a:ext cx="2252861" cy="15019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707147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2A91C57D-0163-4143-8F9B-841FA758B9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831009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2A91C57D-0163-4143-8F9B-841FA758B9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B791BBA6-21FB-476D-917A-6AD66B6FA606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de-DE" noProof="0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6010CC23-23F4-43A4-B221-175BB62626C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>
          <a:xfrm>
            <a:off x="336550" y="1411288"/>
            <a:ext cx="7631106" cy="5041901"/>
          </a:xfrm>
        </p:spPr>
        <p:txBody>
          <a:bodyPr rIns="144000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de-DE" noProof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9671DDE5-237D-488D-8361-D82FE9E2FA41}"/>
              </a:ext>
            </a:extLst>
          </p:cNvPr>
          <p:cNvSpPr>
            <a:spLocks noGrp="1"/>
          </p:cNvSpPr>
          <p:nvPr>
            <p:ph type="dt" sz="half" idx="18"/>
          </p:nvPr>
        </p:nvSpPr>
        <p:spPr bwMode="gray"/>
        <p:txBody>
          <a:bodyPr/>
          <a:lstStyle/>
          <a:p>
            <a:fld id="{8CE7C704-0CF5-48D2-9F6E-1BFEAD408EDD}" type="datetime1">
              <a:rPr lang="de-DE" noProof="0" smtClean="0"/>
              <a:t>22.10.2023</a:t>
            </a:fld>
            <a:endParaRPr lang="de-DE" sz="800" noProof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F3E06A32-B2D9-41C6-BFF1-11EC8ABCC24A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 bwMode="gray"/>
        <p:txBody>
          <a:bodyPr/>
          <a:lstStyle/>
          <a:p>
            <a:pPr algn="ctr"/>
            <a:r>
              <a:rPr lang="de-DE" noProof="0"/>
              <a:t>Commerzbank AG, Max Mustermann, GM-C Brand Management 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7ECBDD58-EB8B-45A7-A68A-501642F55627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 bwMode="gray"/>
        <p:txBody>
          <a:bodyPr/>
          <a:lstStyle/>
          <a:p>
            <a:fld id="{CAEFDB47-5D1C-45E7-8BD0-EF74349B00F7}" type="slidenum">
              <a:rPr lang="de-DE" noProof="0" smtClean="0"/>
              <a:pPr/>
              <a:t>‹#›</a:t>
            </a:fld>
            <a:endParaRPr lang="de-DE" b="1" noProof="0"/>
          </a:p>
        </p:txBody>
      </p:sp>
    </p:spTree>
    <p:extLst>
      <p:ext uri="{BB962C8B-B14F-4D97-AF65-F5344CB8AC3E}">
        <p14:creationId xmlns:p14="http://schemas.microsoft.com/office/powerpoint/2010/main" val="331204441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x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2A91C57D-0163-4143-8F9B-841FA758B9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338038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2A91C57D-0163-4143-8F9B-841FA758B9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B791BBA6-21FB-476D-917A-6AD66B6FA606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de-DE" noProof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EFA860A-0783-485F-9EA6-396743BDF5B9}"/>
              </a:ext>
            </a:extLst>
          </p:cNvPr>
          <p:cNvSpPr>
            <a:spLocks noGrp="1"/>
          </p:cNvSpPr>
          <p:nvPr>
            <p:ph type="dt" sz="half" idx="19"/>
          </p:nvPr>
        </p:nvSpPr>
        <p:spPr bwMode="gray"/>
        <p:txBody>
          <a:bodyPr/>
          <a:lstStyle/>
          <a:p>
            <a:fld id="{1124C121-E365-46E6-A2E1-F2BA80CA9251}" type="datetime1">
              <a:rPr lang="de-DE" noProof="0" smtClean="0"/>
              <a:t>22.10.2023</a:t>
            </a:fld>
            <a:endParaRPr lang="de-DE" sz="800" noProof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BAC370CD-5645-4A0E-9F7D-68A2A121CDBC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 bwMode="gray"/>
        <p:txBody>
          <a:bodyPr/>
          <a:lstStyle/>
          <a:p>
            <a:pPr algn="ctr"/>
            <a:r>
              <a:rPr lang="de-DE" noProof="0"/>
              <a:t>Commerzbank AG, Max Mustermann, GM-C Brand Management 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5EBB456-7637-44EE-BC10-4EB314D3ADD4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 bwMode="gray"/>
        <p:txBody>
          <a:bodyPr/>
          <a:lstStyle/>
          <a:p>
            <a:fld id="{CAEFDB47-5D1C-45E7-8BD0-EF74349B00F7}" type="slidenum">
              <a:rPr lang="de-DE" noProof="0" smtClean="0"/>
              <a:pPr/>
              <a:t>‹#›</a:t>
            </a:fld>
            <a:endParaRPr lang="de-DE" b="1" noProof="0"/>
          </a:p>
        </p:txBody>
      </p:sp>
      <p:sp>
        <p:nvSpPr>
          <p:cNvPr id="9" name="Textplatzhalter 14">
            <a:extLst>
              <a:ext uri="{FF2B5EF4-FFF2-40B4-BE49-F238E27FC236}">
                <a16:creationId xmlns:a16="http://schemas.microsoft.com/office/drawing/2014/main" id="{DCABA094-C500-47C0-BACF-FF45F71D07A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>
          <a:xfrm>
            <a:off x="336550" y="1411288"/>
            <a:ext cx="5689116" cy="5041901"/>
          </a:xfrm>
        </p:spPr>
        <p:txBody>
          <a:bodyPr rIns="144000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de-DE" noProof="0"/>
          </a:p>
        </p:txBody>
      </p:sp>
      <p:sp>
        <p:nvSpPr>
          <p:cNvPr id="10" name="Textplatzhalter 14">
            <a:extLst>
              <a:ext uri="{FF2B5EF4-FFF2-40B4-BE49-F238E27FC236}">
                <a16:creationId xmlns:a16="http://schemas.microsoft.com/office/drawing/2014/main" id="{3C7CA0A3-BDD9-4786-8889-58A40E7C518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 bwMode="gray">
          <a:xfrm>
            <a:off x="6166333" y="1411288"/>
            <a:ext cx="5689116" cy="5041901"/>
          </a:xfrm>
        </p:spPr>
        <p:txBody>
          <a:bodyPr rIns="144000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190441357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oleObject" Target="../embeddings/oleObject1.bin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theme" Target="../theme/theme1.xml"/><Relationship Id="rId40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tags" Target="../tags/tag1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49.xml"/><Relationship Id="rId18" Type="http://schemas.openxmlformats.org/officeDocument/2006/relationships/slideLayout" Target="../slideLayouts/slideLayout54.xml"/><Relationship Id="rId26" Type="http://schemas.openxmlformats.org/officeDocument/2006/relationships/slideLayout" Target="../slideLayouts/slideLayout62.xml"/><Relationship Id="rId39" Type="http://schemas.openxmlformats.org/officeDocument/2006/relationships/theme" Target="../theme/theme2.xml"/><Relationship Id="rId21" Type="http://schemas.openxmlformats.org/officeDocument/2006/relationships/slideLayout" Target="../slideLayouts/slideLayout57.xml"/><Relationship Id="rId34" Type="http://schemas.openxmlformats.org/officeDocument/2006/relationships/slideLayout" Target="../slideLayouts/slideLayout70.xml"/><Relationship Id="rId42" Type="http://schemas.openxmlformats.org/officeDocument/2006/relationships/image" Target="../media/image1.emf"/><Relationship Id="rId7" Type="http://schemas.openxmlformats.org/officeDocument/2006/relationships/slideLayout" Target="../slideLayouts/slideLayout43.xml"/><Relationship Id="rId2" Type="http://schemas.openxmlformats.org/officeDocument/2006/relationships/slideLayout" Target="../slideLayouts/slideLayout38.xml"/><Relationship Id="rId16" Type="http://schemas.openxmlformats.org/officeDocument/2006/relationships/slideLayout" Target="../slideLayouts/slideLayout52.xml"/><Relationship Id="rId20" Type="http://schemas.openxmlformats.org/officeDocument/2006/relationships/slideLayout" Target="../slideLayouts/slideLayout56.xml"/><Relationship Id="rId29" Type="http://schemas.openxmlformats.org/officeDocument/2006/relationships/slideLayout" Target="../slideLayouts/slideLayout65.xml"/><Relationship Id="rId41" Type="http://schemas.openxmlformats.org/officeDocument/2006/relationships/oleObject" Target="../embeddings/oleObject12.bin"/><Relationship Id="rId1" Type="http://schemas.openxmlformats.org/officeDocument/2006/relationships/slideLayout" Target="../slideLayouts/slideLayout37.xml"/><Relationship Id="rId6" Type="http://schemas.openxmlformats.org/officeDocument/2006/relationships/slideLayout" Target="../slideLayouts/slideLayout42.xml"/><Relationship Id="rId11" Type="http://schemas.openxmlformats.org/officeDocument/2006/relationships/slideLayout" Target="../slideLayouts/slideLayout47.xml"/><Relationship Id="rId24" Type="http://schemas.openxmlformats.org/officeDocument/2006/relationships/slideLayout" Target="../slideLayouts/slideLayout60.xml"/><Relationship Id="rId32" Type="http://schemas.openxmlformats.org/officeDocument/2006/relationships/slideLayout" Target="../slideLayouts/slideLayout68.xml"/><Relationship Id="rId37" Type="http://schemas.openxmlformats.org/officeDocument/2006/relationships/slideLayout" Target="../slideLayouts/slideLayout73.xml"/><Relationship Id="rId40" Type="http://schemas.openxmlformats.org/officeDocument/2006/relationships/tags" Target="../tags/tag12.xml"/><Relationship Id="rId5" Type="http://schemas.openxmlformats.org/officeDocument/2006/relationships/slideLayout" Target="../slideLayouts/slideLayout41.xml"/><Relationship Id="rId15" Type="http://schemas.openxmlformats.org/officeDocument/2006/relationships/slideLayout" Target="../slideLayouts/slideLayout51.xml"/><Relationship Id="rId23" Type="http://schemas.openxmlformats.org/officeDocument/2006/relationships/slideLayout" Target="../slideLayouts/slideLayout59.xml"/><Relationship Id="rId28" Type="http://schemas.openxmlformats.org/officeDocument/2006/relationships/slideLayout" Target="../slideLayouts/slideLayout64.xml"/><Relationship Id="rId36" Type="http://schemas.openxmlformats.org/officeDocument/2006/relationships/slideLayout" Target="../slideLayouts/slideLayout72.xml"/><Relationship Id="rId10" Type="http://schemas.openxmlformats.org/officeDocument/2006/relationships/slideLayout" Target="../slideLayouts/slideLayout46.xml"/><Relationship Id="rId19" Type="http://schemas.openxmlformats.org/officeDocument/2006/relationships/slideLayout" Target="../slideLayouts/slideLayout55.xml"/><Relationship Id="rId31" Type="http://schemas.openxmlformats.org/officeDocument/2006/relationships/slideLayout" Target="../slideLayouts/slideLayout67.xml"/><Relationship Id="rId4" Type="http://schemas.openxmlformats.org/officeDocument/2006/relationships/slideLayout" Target="../slideLayouts/slideLayout40.xml"/><Relationship Id="rId9" Type="http://schemas.openxmlformats.org/officeDocument/2006/relationships/slideLayout" Target="../slideLayouts/slideLayout45.xml"/><Relationship Id="rId14" Type="http://schemas.openxmlformats.org/officeDocument/2006/relationships/slideLayout" Target="../slideLayouts/slideLayout50.xml"/><Relationship Id="rId22" Type="http://schemas.openxmlformats.org/officeDocument/2006/relationships/slideLayout" Target="../slideLayouts/slideLayout58.xml"/><Relationship Id="rId27" Type="http://schemas.openxmlformats.org/officeDocument/2006/relationships/slideLayout" Target="../slideLayouts/slideLayout63.xml"/><Relationship Id="rId30" Type="http://schemas.openxmlformats.org/officeDocument/2006/relationships/slideLayout" Target="../slideLayouts/slideLayout66.xml"/><Relationship Id="rId35" Type="http://schemas.openxmlformats.org/officeDocument/2006/relationships/slideLayout" Target="../slideLayouts/slideLayout71.xml"/><Relationship Id="rId43" Type="http://schemas.openxmlformats.org/officeDocument/2006/relationships/image" Target="../media/image2.png"/><Relationship Id="rId8" Type="http://schemas.openxmlformats.org/officeDocument/2006/relationships/slideLayout" Target="../slideLayouts/slideLayout44.xml"/><Relationship Id="rId3" Type="http://schemas.openxmlformats.org/officeDocument/2006/relationships/slideLayout" Target="../slideLayouts/slideLayout39.xml"/><Relationship Id="rId12" Type="http://schemas.openxmlformats.org/officeDocument/2006/relationships/slideLayout" Target="../slideLayouts/slideLayout48.xml"/><Relationship Id="rId17" Type="http://schemas.openxmlformats.org/officeDocument/2006/relationships/slideLayout" Target="../slideLayouts/slideLayout53.xml"/><Relationship Id="rId25" Type="http://schemas.openxmlformats.org/officeDocument/2006/relationships/slideLayout" Target="../slideLayouts/slideLayout61.xml"/><Relationship Id="rId33" Type="http://schemas.openxmlformats.org/officeDocument/2006/relationships/slideLayout" Target="../slideLayouts/slideLayout69.xml"/><Relationship Id="rId38" Type="http://schemas.openxmlformats.org/officeDocument/2006/relationships/slideLayout" Target="../slideLayouts/slideLayout7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8D32C311-42A6-4141-B8B0-3ECECF59F99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8"/>
            </p:custDataLst>
            <p:extLst>
              <p:ext uri="{D42A27DB-BD31-4B8C-83A1-F6EECF244321}">
                <p14:modId xmlns:p14="http://schemas.microsoft.com/office/powerpoint/2010/main" val="21219170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9" imgW="408" imgH="408" progId="TCLayout.ActiveDocument.1">
                  <p:embed/>
                </p:oleObj>
              </mc:Choice>
              <mc:Fallback>
                <p:oleObj name="think-cell Slide" r:id="rId39" imgW="408" imgH="408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8D32C311-42A6-4141-B8B0-3ECECF59F9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CA1953FA-A217-4290-B8B2-F20FA9B85E7F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336551" y="0"/>
            <a:ext cx="11518898" cy="1123950"/>
          </a:xfrm>
          <a:prstGeom prst="rect">
            <a:avLst/>
          </a:prstGeom>
        </p:spPr>
        <p:txBody>
          <a:bodyPr vert="horz" lIns="0" tIns="216000" rIns="864000" bIns="0" rtlCol="0" anchor="t">
            <a:noAutofit/>
          </a:bodyPr>
          <a:lstStyle/>
          <a:p>
            <a:r>
              <a:rPr lang="de-DE" noProof="0" dirty="0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6767ADB-5B8A-488F-9884-47CB17F2FFDB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336550" y="1411289"/>
            <a:ext cx="7631106" cy="50419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 dirty="0"/>
              <a:t>Mastertextformat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  <a:p>
            <a:pPr lvl="5"/>
            <a:r>
              <a:rPr lang="de-DE" noProof="0" dirty="0"/>
              <a:t>Sechste Ebene</a:t>
            </a:r>
          </a:p>
          <a:p>
            <a:pPr lvl="6"/>
            <a:r>
              <a:rPr lang="de-DE" noProof="0" dirty="0"/>
              <a:t>Siebte Ebene</a:t>
            </a:r>
          </a:p>
          <a:p>
            <a:pPr lvl="7"/>
            <a:r>
              <a:rPr lang="de-DE" noProof="0" dirty="0"/>
              <a:t>Achte Ebene</a:t>
            </a:r>
          </a:p>
          <a:p>
            <a:pPr lvl="8"/>
            <a:r>
              <a:rPr lang="de-DE" noProof="0" dirty="0"/>
              <a:t>Neun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D837F7AE-BC98-407A-B37E-999E5E7CBE86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336550" y="6453188"/>
            <a:ext cx="863450" cy="404812"/>
          </a:xfrm>
          <a:prstGeom prst="rect">
            <a:avLst/>
          </a:prstGeom>
        </p:spPr>
        <p:txBody>
          <a:bodyPr vert="horz" wrap="none" lIns="0" tIns="144000" rIns="0" bIns="0" rtlCol="0" anchor="t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B600E49A-8649-4AAC-A85A-83741020B512}" type="datetime1">
              <a:rPr lang="de-DE" smtClean="0"/>
              <a:pPr/>
              <a:t>22.10.202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37F4CA9-7229-4B54-884E-9BFBB3942C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251684" y="6453188"/>
            <a:ext cx="5689116" cy="404812"/>
          </a:xfrm>
          <a:prstGeom prst="rect">
            <a:avLst/>
          </a:prstGeom>
        </p:spPr>
        <p:txBody>
          <a:bodyPr vert="horz" wrap="none" lIns="0" tIns="144000" rIns="0" bIns="0" rtlCol="0" anchor="t"/>
          <a:lstStyle>
            <a:lvl1pPr algn="ctr">
              <a:defRPr sz="800">
                <a:solidFill>
                  <a:schemeClr val="tx1"/>
                </a:solidFill>
              </a:defRPr>
            </a:lvl1pPr>
          </a:lstStyle>
          <a:p>
            <a:r>
              <a:rPr lang="de-DE"/>
              <a:t>Commerzbank AG, Max Mustermann, GM-C Brand Management 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25EDBD7-0293-448B-8ECC-9B648DDFE8F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11280774" y="6453188"/>
            <a:ext cx="574675" cy="404812"/>
          </a:xfrm>
          <a:prstGeom prst="rect">
            <a:avLst/>
          </a:prstGeom>
        </p:spPr>
        <p:txBody>
          <a:bodyPr vert="horz" wrap="none" lIns="0" tIns="144000" rIns="0" bIns="0" rtlCol="0" anchor="t"/>
          <a:lstStyle>
            <a:lvl1pPr algn="r">
              <a:defRPr sz="800" b="0">
                <a:solidFill>
                  <a:schemeClr val="tx1"/>
                </a:solidFill>
              </a:defRPr>
            </a:lvl1pPr>
          </a:lstStyle>
          <a:p>
            <a:fld id="{CAEFDB47-5D1C-45E7-8BD0-EF74349B00F7}" type="slidenum">
              <a:rPr lang="de-DE" smtClean="0"/>
              <a:pPr/>
              <a:t>‹#›</a:t>
            </a:fld>
            <a:endParaRPr lang="de-DE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045EA183-F90D-7AAE-4491-82D59C9F838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1"/>
          <a:srcRect l="21147" r="21147" b="24759"/>
          <a:stretch/>
        </p:blipFill>
        <p:spPr>
          <a:xfrm>
            <a:off x="11522868" y="260261"/>
            <a:ext cx="335757" cy="291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94884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91" r:id="rId29"/>
    <p:sldLayoutId id="2147483692" r:id="rId30"/>
    <p:sldLayoutId id="2147483693" r:id="rId31"/>
    <p:sldLayoutId id="2147483694" r:id="rId32"/>
    <p:sldLayoutId id="2147483695" r:id="rId33"/>
    <p:sldLayoutId id="2147483696" r:id="rId34"/>
    <p:sldLayoutId id="2147483697" r:id="rId35"/>
    <p:sldLayoutId id="2147483698" r:id="rId36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0000" indent="-180000" algn="l" defTabSz="914400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Clr>
          <a:schemeClr val="accent2"/>
        </a:buClr>
        <a:buFont typeface="Arial" panose="020B0604020202020204" pitchFamily="34" charset="0"/>
        <a:buChar char="●"/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360000" indent="-179388" algn="l" defTabSz="914400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Clr>
          <a:schemeClr val="accent2"/>
        </a:buClr>
        <a:buSzPct val="100000"/>
        <a:buFont typeface="Arial" panose="020B0604020202020204" pitchFamily="34" charset="0"/>
        <a:buChar char="●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540000" indent="-180975" algn="l" defTabSz="914400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Clr>
          <a:schemeClr val="accent2"/>
        </a:buClr>
        <a:buSzPct val="100000"/>
        <a:buFont typeface="Arial" panose="020B0604020202020204" pitchFamily="34" charset="0"/>
        <a:buChar char="●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79388" indent="-179388" algn="l" defTabSz="914400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Font typeface="+mj-lt"/>
        <a:buAutoNum type="arabicPeriod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360363" indent="-180975" algn="l" defTabSz="914400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Font typeface="+mj-lt"/>
        <a:buAutoNum type="alphaLcPeriod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Font typeface="Arial" panose="020B0604020202020204" pitchFamily="34" charset="0"/>
        <a:buNone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1000"/>
        </a:spcBef>
        <a:spcAft>
          <a:spcPts val="600"/>
        </a:spcAft>
        <a:buFont typeface="Arial" panose="020B0604020202020204" pitchFamily="34" charset="0"/>
        <a:buNone/>
        <a:defRPr sz="1800" b="1" kern="120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Font typeface="Arial" panose="020B0604020202020204" pitchFamily="34" charset="0"/>
        <a:buNone/>
        <a:defRPr sz="800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Font typeface="Arial" panose="020B0604020202020204" pitchFamily="34" charset="0"/>
        <a:buNone/>
        <a:defRPr sz="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orient="horz" pos="709">
          <p15:clr>
            <a:srgbClr val="F26B43"/>
          </p15:clr>
        </p15:guide>
        <p15:guide id="5" orient="horz" pos="889">
          <p15:clr>
            <a:srgbClr val="F26B43"/>
          </p15:clr>
        </p15:guide>
        <p15:guide id="21" orient="horz" pos="3067">
          <p15:clr>
            <a:srgbClr val="F26B43"/>
          </p15:clr>
        </p15:guide>
        <p15:guide id="23" orient="horz" pos="4065">
          <p15:clr>
            <a:srgbClr val="F26B43"/>
          </p15:clr>
        </p15:guide>
        <p15:guide id="26" pos="212">
          <p15:clr>
            <a:srgbClr val="F26B43"/>
          </p15:clr>
        </p15:guide>
        <p15:guide id="28" pos="3885">
          <p15:clr>
            <a:srgbClr val="F26B43"/>
          </p15:clr>
        </p15:guide>
        <p15:guide id="45" pos="7469">
          <p15:clr>
            <a:srgbClr val="F26B43"/>
          </p15:clr>
        </p15:guide>
        <p15:guide id="46" orient="horz" pos="2976">
          <p15:clr>
            <a:srgbClr val="F26B43"/>
          </p15:clr>
        </p15:guide>
        <p15:guide id="47" orient="horz" pos="2523">
          <p15:clr>
            <a:srgbClr val="F26B43"/>
          </p15:clr>
        </p15:guide>
        <p15:guide id="48" orient="horz" pos="2432">
          <p15:clr>
            <a:srgbClr val="F26B43"/>
          </p15:clr>
        </p15:guide>
        <p15:guide id="49" orient="horz" pos="1979">
          <p15:clr>
            <a:srgbClr val="F26B43"/>
          </p15:clr>
        </p15:guide>
        <p15:guide id="50" orient="horz" pos="1888">
          <p15:clr>
            <a:srgbClr val="F26B43"/>
          </p15:clr>
        </p15:guide>
        <p15:guide id="51" pos="3795">
          <p15:clr>
            <a:srgbClr val="F26B43"/>
          </p15:clr>
        </p15:guide>
        <p15:guide id="52" pos="2661">
          <p15:clr>
            <a:srgbClr val="F26B43"/>
          </p15:clr>
        </p15:guide>
        <p15:guide id="53" pos="2570">
          <p15:clr>
            <a:srgbClr val="F26B43"/>
          </p15:clr>
        </p15:guide>
        <p15:guide id="54" pos="2048">
          <p15:clr>
            <a:srgbClr val="F26B43"/>
          </p15:clr>
        </p15:guide>
        <p15:guide id="55" pos="1958">
          <p15:clr>
            <a:srgbClr val="F26B43"/>
          </p15:clr>
        </p15:guide>
        <p15:guide id="56" pos="5019">
          <p15:clr>
            <a:srgbClr val="F26B43"/>
          </p15:clr>
        </p15:guide>
        <p15:guide id="57" pos="5110">
          <p15:clr>
            <a:srgbClr val="F26B43"/>
          </p15:clr>
        </p15:guide>
        <p15:guide id="58" pos="5632">
          <p15:clr>
            <a:srgbClr val="F26B43"/>
          </p15:clr>
        </p15:guide>
        <p15:guide id="59" pos="5722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8D32C311-42A6-4141-B8B0-3ECECF59F99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0"/>
            </p:custDataLst>
            <p:extLst>
              <p:ext uri="{D42A27DB-BD31-4B8C-83A1-F6EECF244321}">
                <p14:modId xmlns:p14="http://schemas.microsoft.com/office/powerpoint/2010/main" val="21219170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1" imgW="408" imgH="408" progId="TCLayout.ActiveDocument.1">
                  <p:embed/>
                </p:oleObj>
              </mc:Choice>
              <mc:Fallback>
                <p:oleObj name="think-cell Slide" r:id="rId41" imgW="408" imgH="408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8D32C311-42A6-4141-B8B0-3ECECF59F9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CA1953FA-A217-4290-B8B2-F20FA9B85E7F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336551" y="0"/>
            <a:ext cx="11518898" cy="1123950"/>
          </a:xfrm>
          <a:prstGeom prst="rect">
            <a:avLst/>
          </a:prstGeom>
        </p:spPr>
        <p:txBody>
          <a:bodyPr vert="horz" lIns="0" tIns="216000" rIns="864000" bIns="0" rtlCol="0" anchor="t">
            <a:noAutofit/>
          </a:bodyPr>
          <a:lstStyle/>
          <a:p>
            <a:r>
              <a:rPr lang="de-DE" noProof="0" dirty="0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6767ADB-5B8A-488F-9884-47CB17F2FFDB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336550" y="1411289"/>
            <a:ext cx="7631106" cy="50419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 dirty="0"/>
              <a:t>Mastertextformat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  <a:p>
            <a:pPr lvl="5"/>
            <a:r>
              <a:rPr lang="de-DE" noProof="0" dirty="0"/>
              <a:t>Sechste Ebene</a:t>
            </a:r>
          </a:p>
          <a:p>
            <a:pPr lvl="6"/>
            <a:r>
              <a:rPr lang="de-DE" noProof="0" dirty="0"/>
              <a:t>Siebte Ebene</a:t>
            </a:r>
          </a:p>
          <a:p>
            <a:pPr lvl="7"/>
            <a:r>
              <a:rPr lang="de-DE" noProof="0" dirty="0"/>
              <a:t>Achte Ebene</a:t>
            </a:r>
          </a:p>
          <a:p>
            <a:pPr lvl="8"/>
            <a:r>
              <a:rPr lang="de-DE" noProof="0" dirty="0"/>
              <a:t>Neun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D837F7AE-BC98-407A-B37E-999E5E7CBE86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336550" y="6453188"/>
            <a:ext cx="863450" cy="404812"/>
          </a:xfrm>
          <a:prstGeom prst="rect">
            <a:avLst/>
          </a:prstGeom>
        </p:spPr>
        <p:txBody>
          <a:bodyPr vert="horz" wrap="none" lIns="0" tIns="144000" rIns="0" bIns="0" rtlCol="0" anchor="t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B600E49A-8649-4AAC-A85A-83741020B512}" type="datetime1">
              <a:rPr lang="de-DE" smtClean="0"/>
              <a:pPr/>
              <a:t>22.10.202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37F4CA9-7229-4B54-884E-9BFBB3942C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251684" y="6453188"/>
            <a:ext cx="5689116" cy="404812"/>
          </a:xfrm>
          <a:prstGeom prst="rect">
            <a:avLst/>
          </a:prstGeom>
        </p:spPr>
        <p:txBody>
          <a:bodyPr vert="horz" wrap="none" lIns="0" tIns="144000" rIns="0" bIns="0" rtlCol="0" anchor="t"/>
          <a:lstStyle>
            <a:lvl1pPr algn="ctr">
              <a:defRPr sz="800">
                <a:solidFill>
                  <a:schemeClr val="tx1"/>
                </a:solidFill>
              </a:defRPr>
            </a:lvl1pPr>
          </a:lstStyle>
          <a:p>
            <a:r>
              <a:rPr lang="de-DE"/>
              <a:t>Commerzbank AG, Max Mustermann, GM-C Brand Management 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25EDBD7-0293-448B-8ECC-9B648DDFE8F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11280774" y="6453188"/>
            <a:ext cx="574675" cy="404812"/>
          </a:xfrm>
          <a:prstGeom prst="rect">
            <a:avLst/>
          </a:prstGeom>
        </p:spPr>
        <p:txBody>
          <a:bodyPr vert="horz" wrap="none" lIns="0" tIns="144000" rIns="0" bIns="0" rtlCol="0" anchor="t"/>
          <a:lstStyle>
            <a:lvl1pPr algn="r">
              <a:defRPr sz="800" b="0">
                <a:solidFill>
                  <a:schemeClr val="tx1"/>
                </a:solidFill>
              </a:defRPr>
            </a:lvl1pPr>
          </a:lstStyle>
          <a:p>
            <a:fld id="{CAEFDB47-5D1C-45E7-8BD0-EF74349B00F7}" type="slidenum">
              <a:rPr lang="de-DE" smtClean="0"/>
              <a:pPr/>
              <a:t>‹#›</a:t>
            </a:fld>
            <a:endParaRPr lang="de-DE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045EA183-F90D-7AAE-4491-82D59C9F838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3"/>
          <a:srcRect l="21147" r="21147" b="24759"/>
          <a:stretch/>
        </p:blipFill>
        <p:spPr>
          <a:xfrm>
            <a:off x="11522868" y="260261"/>
            <a:ext cx="335757" cy="291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47138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701" r:id="rId2"/>
    <p:sldLayoutId id="2147483702" r:id="rId3"/>
    <p:sldLayoutId id="2147483703" r:id="rId4"/>
    <p:sldLayoutId id="2147483704" r:id="rId5"/>
    <p:sldLayoutId id="2147483705" r:id="rId6"/>
    <p:sldLayoutId id="2147483706" r:id="rId7"/>
    <p:sldLayoutId id="2147483707" r:id="rId8"/>
    <p:sldLayoutId id="2147483708" r:id="rId9"/>
    <p:sldLayoutId id="2147483709" r:id="rId10"/>
    <p:sldLayoutId id="2147483710" r:id="rId11"/>
    <p:sldLayoutId id="2147483711" r:id="rId12"/>
    <p:sldLayoutId id="2147483712" r:id="rId13"/>
    <p:sldLayoutId id="2147483713" r:id="rId14"/>
    <p:sldLayoutId id="2147483714" r:id="rId15"/>
    <p:sldLayoutId id="2147483715" r:id="rId16"/>
    <p:sldLayoutId id="2147483716" r:id="rId17"/>
    <p:sldLayoutId id="2147483717" r:id="rId18"/>
    <p:sldLayoutId id="2147483718" r:id="rId19"/>
    <p:sldLayoutId id="2147483719" r:id="rId20"/>
    <p:sldLayoutId id="2147483720" r:id="rId21"/>
    <p:sldLayoutId id="2147483721" r:id="rId22"/>
    <p:sldLayoutId id="2147483722" r:id="rId23"/>
    <p:sldLayoutId id="2147483723" r:id="rId24"/>
    <p:sldLayoutId id="2147483724" r:id="rId25"/>
    <p:sldLayoutId id="2147483725" r:id="rId26"/>
    <p:sldLayoutId id="2147483726" r:id="rId27"/>
    <p:sldLayoutId id="2147483727" r:id="rId28"/>
    <p:sldLayoutId id="2147483728" r:id="rId29"/>
    <p:sldLayoutId id="2147483729" r:id="rId30"/>
    <p:sldLayoutId id="2147483730" r:id="rId31"/>
    <p:sldLayoutId id="2147483731" r:id="rId32"/>
    <p:sldLayoutId id="2147483732" r:id="rId33"/>
    <p:sldLayoutId id="2147483733" r:id="rId34"/>
    <p:sldLayoutId id="2147483734" r:id="rId35"/>
    <p:sldLayoutId id="2147483735" r:id="rId36"/>
    <p:sldLayoutId id="2147483736" r:id="rId37"/>
    <p:sldLayoutId id="2147483737" r:id="rId38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0000" indent="-180000" algn="l" defTabSz="914400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Clr>
          <a:schemeClr val="accent2"/>
        </a:buClr>
        <a:buFont typeface="Arial" panose="020B0604020202020204" pitchFamily="34" charset="0"/>
        <a:buChar char="●"/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360000" indent="-179388" algn="l" defTabSz="914400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Clr>
          <a:schemeClr val="accent2"/>
        </a:buClr>
        <a:buSzPct val="100000"/>
        <a:buFont typeface="Arial" panose="020B0604020202020204" pitchFamily="34" charset="0"/>
        <a:buChar char="●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540000" indent="-180975" algn="l" defTabSz="914400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Clr>
          <a:schemeClr val="accent2"/>
        </a:buClr>
        <a:buSzPct val="100000"/>
        <a:buFont typeface="Arial" panose="020B0604020202020204" pitchFamily="34" charset="0"/>
        <a:buChar char="●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79388" indent="-179388" algn="l" defTabSz="914400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Font typeface="+mj-lt"/>
        <a:buAutoNum type="arabicPeriod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360363" indent="-180975" algn="l" defTabSz="914400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Font typeface="+mj-lt"/>
        <a:buAutoNum type="alphaLcPeriod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Font typeface="Arial" panose="020B0604020202020204" pitchFamily="34" charset="0"/>
        <a:buNone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1000"/>
        </a:spcBef>
        <a:spcAft>
          <a:spcPts val="600"/>
        </a:spcAft>
        <a:buFont typeface="Arial" panose="020B0604020202020204" pitchFamily="34" charset="0"/>
        <a:buNone/>
        <a:defRPr sz="1800" b="1" kern="120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Font typeface="Arial" panose="020B0604020202020204" pitchFamily="34" charset="0"/>
        <a:buNone/>
        <a:defRPr sz="800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Font typeface="Arial" panose="020B0604020202020204" pitchFamily="34" charset="0"/>
        <a:buNone/>
        <a:defRPr sz="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orient="horz" pos="709">
          <p15:clr>
            <a:srgbClr val="F26B43"/>
          </p15:clr>
        </p15:guide>
        <p15:guide id="5" orient="horz" pos="889">
          <p15:clr>
            <a:srgbClr val="F26B43"/>
          </p15:clr>
        </p15:guide>
        <p15:guide id="21" orient="horz" pos="3067">
          <p15:clr>
            <a:srgbClr val="F26B43"/>
          </p15:clr>
        </p15:guide>
        <p15:guide id="23" orient="horz" pos="4065">
          <p15:clr>
            <a:srgbClr val="F26B43"/>
          </p15:clr>
        </p15:guide>
        <p15:guide id="26" pos="212">
          <p15:clr>
            <a:srgbClr val="F26B43"/>
          </p15:clr>
        </p15:guide>
        <p15:guide id="28" pos="3885">
          <p15:clr>
            <a:srgbClr val="F26B43"/>
          </p15:clr>
        </p15:guide>
        <p15:guide id="45" pos="7469">
          <p15:clr>
            <a:srgbClr val="F26B43"/>
          </p15:clr>
        </p15:guide>
        <p15:guide id="46" orient="horz" pos="2976">
          <p15:clr>
            <a:srgbClr val="F26B43"/>
          </p15:clr>
        </p15:guide>
        <p15:guide id="47" orient="horz" pos="2523">
          <p15:clr>
            <a:srgbClr val="F26B43"/>
          </p15:clr>
        </p15:guide>
        <p15:guide id="48" orient="horz" pos="2432">
          <p15:clr>
            <a:srgbClr val="F26B43"/>
          </p15:clr>
        </p15:guide>
        <p15:guide id="49" orient="horz" pos="1979">
          <p15:clr>
            <a:srgbClr val="F26B43"/>
          </p15:clr>
        </p15:guide>
        <p15:guide id="50" orient="horz" pos="1888">
          <p15:clr>
            <a:srgbClr val="F26B43"/>
          </p15:clr>
        </p15:guide>
        <p15:guide id="51" pos="3795">
          <p15:clr>
            <a:srgbClr val="F26B43"/>
          </p15:clr>
        </p15:guide>
        <p15:guide id="52" pos="2661">
          <p15:clr>
            <a:srgbClr val="F26B43"/>
          </p15:clr>
        </p15:guide>
        <p15:guide id="53" pos="2570">
          <p15:clr>
            <a:srgbClr val="F26B43"/>
          </p15:clr>
        </p15:guide>
        <p15:guide id="54" pos="2048">
          <p15:clr>
            <a:srgbClr val="F26B43"/>
          </p15:clr>
        </p15:guide>
        <p15:guide id="55" pos="1958">
          <p15:clr>
            <a:srgbClr val="F26B43"/>
          </p15:clr>
        </p15:guide>
        <p15:guide id="56" pos="5019">
          <p15:clr>
            <a:srgbClr val="F26B43"/>
          </p15:clr>
        </p15:guide>
        <p15:guide id="57" pos="5110">
          <p15:clr>
            <a:srgbClr val="F26B43"/>
          </p15:clr>
        </p15:guide>
        <p15:guide id="58" pos="5632">
          <p15:clr>
            <a:srgbClr val="F26B43"/>
          </p15:clr>
        </p15:guide>
        <p15:guide id="59" pos="5722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jp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13.png"/><Relationship Id="rId5" Type="http://schemas.openxmlformats.org/officeDocument/2006/relationships/image" Target="../media/image12.svg"/><Relationship Id="rId4" Type="http://schemas.openxmlformats.org/officeDocument/2006/relationships/image" Target="../media/image11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3.png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16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9.xml"/><Relationship Id="rId5" Type="http://schemas.openxmlformats.org/officeDocument/2006/relationships/image" Target="../media/image16.png"/><Relationship Id="rId4" Type="http://schemas.openxmlformats.org/officeDocument/2006/relationships/image" Target="../media/image14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9.xml"/><Relationship Id="rId5" Type="http://schemas.openxmlformats.org/officeDocument/2006/relationships/image" Target="../media/image14.png"/><Relationship Id="rId4" Type="http://schemas.openxmlformats.org/officeDocument/2006/relationships/image" Target="../media/image16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9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7.xml"/><Relationship Id="rId4" Type="http://schemas.openxmlformats.org/officeDocument/2006/relationships/image" Target="../media/image16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hyperlink" Target="http://127.0.0.1:8000/register/" TargetMode="Externa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1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BF5AAE9-0C07-33ED-82B1-ADE484F0399F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CAEFDB47-5D1C-45E7-8BD0-EF74349B00F7}" type="slidenum">
              <a:rPr lang="de-DE" noProof="0" smtClean="0"/>
              <a:pPr/>
              <a:t>1</a:t>
            </a:fld>
            <a:endParaRPr lang="de-DE" noProof="0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9F4A74C5-9B3C-5C04-2F63-7D7312C865D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67" y="0"/>
            <a:ext cx="12187733" cy="6858000"/>
          </a:xfrm>
          <a:prstGeom prst="rect">
            <a:avLst/>
          </a:prstGeom>
        </p:spPr>
      </p:pic>
      <p:sp>
        <p:nvSpPr>
          <p:cNvPr id="13" name="Titel 3">
            <a:extLst>
              <a:ext uri="{FF2B5EF4-FFF2-40B4-BE49-F238E27FC236}">
                <a16:creationId xmlns:a16="http://schemas.microsoft.com/office/drawing/2014/main" id="{263C460E-D58B-F92B-3158-DFC29EE78DF9}"/>
              </a:ext>
            </a:extLst>
          </p:cNvPr>
          <p:cNvSpPr txBox="1">
            <a:spLocks/>
          </p:cNvSpPr>
          <p:nvPr/>
        </p:nvSpPr>
        <p:spPr bwMode="invGray">
          <a:xfrm>
            <a:off x="352770" y="1534503"/>
            <a:ext cx="11518895" cy="3311525"/>
          </a:xfrm>
          <a:prstGeom prst="rect">
            <a:avLst/>
          </a:prstGeom>
        </p:spPr>
        <p:txBody>
          <a:bodyPr vert="horz" lIns="0" tIns="216000" rIns="0" bIns="14400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6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dirty="0" err="1"/>
              <a:t>Together</a:t>
            </a:r>
            <a:r>
              <a:rPr lang="de-DE" dirty="0"/>
              <a:t> </a:t>
            </a:r>
            <a:br>
              <a:rPr lang="de-DE" dirty="0"/>
            </a:br>
            <a:r>
              <a:rPr lang="de-DE" dirty="0"/>
              <a:t>Finance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1C576E49-0B8E-CA54-F3CC-7A19D7FA13B9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5315" t="16046" r="9535" b="63571"/>
          <a:stretch/>
        </p:blipFill>
        <p:spPr>
          <a:xfrm>
            <a:off x="8578224" y="986934"/>
            <a:ext cx="1154482" cy="1164920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6C73F2C5-7C41-8795-BEBB-C658361F16D7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3998" t="39493" r="20851" b="43411"/>
          <a:stretch/>
        </p:blipFill>
        <p:spPr>
          <a:xfrm>
            <a:off x="2892846" y="123959"/>
            <a:ext cx="1154482" cy="977031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DCC80AB8-4B1D-BF8A-EB21-BF3361DC1195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4837" t="17000" r="34477" b="64744"/>
          <a:stretch/>
        </p:blipFill>
        <p:spPr>
          <a:xfrm>
            <a:off x="7599393" y="1630185"/>
            <a:ext cx="814271" cy="1043338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EDB26EEC-5C09-5330-184C-BE2C014EC172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3254" t="39493" r="36355" b="43411"/>
          <a:stretch/>
        </p:blipFill>
        <p:spPr>
          <a:xfrm>
            <a:off x="2227962" y="969143"/>
            <a:ext cx="791793" cy="977031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D3ECE6F7-7093-33AD-C374-ACF6AFA4DCA6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5227" t="18160" r="44382" b="64744"/>
          <a:stretch/>
        </p:blipFill>
        <p:spPr>
          <a:xfrm>
            <a:off x="9512608" y="229957"/>
            <a:ext cx="791793" cy="977032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B2965FEA-E982-FEC9-73DD-04C2AFAC6F8A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659" t="18160" r="55130" b="64744"/>
          <a:stretch/>
        </p:blipFill>
        <p:spPr>
          <a:xfrm>
            <a:off x="4596270" y="1620560"/>
            <a:ext cx="625641" cy="977032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D61FE875-2242-BFBE-419A-8FCCAAF9443E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336" t="39556" r="46738" b="45106"/>
          <a:stretch/>
        </p:blipFill>
        <p:spPr>
          <a:xfrm>
            <a:off x="2703875" y="1620560"/>
            <a:ext cx="1289785" cy="876545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907F7389-9019-6F53-6F64-D42E990A5463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4670" t="19782" r="24939" b="64881"/>
          <a:stretch/>
        </p:blipFill>
        <p:spPr>
          <a:xfrm>
            <a:off x="8182328" y="2929"/>
            <a:ext cx="791793" cy="876545"/>
          </a:xfrm>
          <a:prstGeom prst="rect">
            <a:avLst/>
          </a:prstGeom>
        </p:spPr>
      </p:pic>
      <p:pic>
        <p:nvPicPr>
          <p:cNvPr id="24" name="Graphic 23">
            <a:extLst>
              <a:ext uri="{FF2B5EF4-FFF2-40B4-BE49-F238E27FC236}">
                <a16:creationId xmlns:a16="http://schemas.microsoft.com/office/drawing/2014/main" id="{92186C46-3CB0-8E6C-EEEE-F4EECD832FB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207361" y="842138"/>
            <a:ext cx="3799168" cy="476883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41B62A4C-E594-54DD-5ED1-FF1AD4AA561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849600" y="-10327960"/>
            <a:ext cx="9531103" cy="9445834"/>
          </a:xfrm>
          <a:prstGeom prst="rect">
            <a:avLst/>
          </a:prstGeom>
        </p:spPr>
      </p:pic>
      <p:sp>
        <p:nvSpPr>
          <p:cNvPr id="28" name="Freihandform: Form 116">
            <a:extLst>
              <a:ext uri="{FF2B5EF4-FFF2-40B4-BE49-F238E27FC236}">
                <a16:creationId xmlns:a16="http://schemas.microsoft.com/office/drawing/2014/main" id="{811EBCFB-A9DC-64F6-C9BC-ABFEA1AFA1A9}"/>
              </a:ext>
            </a:extLst>
          </p:cNvPr>
          <p:cNvSpPr>
            <a:spLocks noChangeAspect="1"/>
          </p:cNvSpPr>
          <p:nvPr/>
        </p:nvSpPr>
        <p:spPr bwMode="gray">
          <a:xfrm>
            <a:off x="2964965" y="8035968"/>
            <a:ext cx="1343864" cy="1124277"/>
          </a:xfrm>
          <a:custGeom>
            <a:avLst/>
            <a:gdLst>
              <a:gd name="connsiteX0" fmla="*/ 300990 w 874395"/>
              <a:gd name="connsiteY0" fmla="*/ 416242 h 731520"/>
              <a:gd name="connsiteX1" fmla="*/ 437198 w 874395"/>
              <a:gd name="connsiteY1" fmla="*/ 485774 h 731520"/>
              <a:gd name="connsiteX2" fmla="*/ 574358 w 874395"/>
              <a:gd name="connsiteY2" fmla="*/ 416242 h 731520"/>
              <a:gd name="connsiteX3" fmla="*/ 609600 w 874395"/>
              <a:gd name="connsiteY3" fmla="*/ 421957 h 731520"/>
              <a:gd name="connsiteX4" fmla="*/ 772478 w 874395"/>
              <a:gd name="connsiteY4" fmla="*/ 601027 h 731520"/>
              <a:gd name="connsiteX5" fmla="*/ 781050 w 874395"/>
              <a:gd name="connsiteY5" fmla="*/ 731520 h 731520"/>
              <a:gd name="connsiteX6" fmla="*/ 742950 w 874395"/>
              <a:gd name="connsiteY6" fmla="*/ 731520 h 731520"/>
              <a:gd name="connsiteX7" fmla="*/ 735330 w 874395"/>
              <a:gd name="connsiteY7" fmla="*/ 605789 h 731520"/>
              <a:gd name="connsiteX8" fmla="*/ 602933 w 874395"/>
              <a:gd name="connsiteY8" fmla="*/ 459105 h 731520"/>
              <a:gd name="connsiteX9" fmla="*/ 581025 w 874395"/>
              <a:gd name="connsiteY9" fmla="*/ 456247 h 731520"/>
              <a:gd name="connsiteX10" fmla="*/ 438150 w 874395"/>
              <a:gd name="connsiteY10" fmla="*/ 528637 h 731520"/>
              <a:gd name="connsiteX11" fmla="*/ 295275 w 874395"/>
              <a:gd name="connsiteY11" fmla="*/ 456247 h 731520"/>
              <a:gd name="connsiteX12" fmla="*/ 273368 w 874395"/>
              <a:gd name="connsiteY12" fmla="*/ 459105 h 731520"/>
              <a:gd name="connsiteX13" fmla="*/ 140970 w 874395"/>
              <a:gd name="connsiteY13" fmla="*/ 605789 h 731520"/>
              <a:gd name="connsiteX14" fmla="*/ 133350 w 874395"/>
              <a:gd name="connsiteY14" fmla="*/ 731520 h 731520"/>
              <a:gd name="connsiteX15" fmla="*/ 95250 w 874395"/>
              <a:gd name="connsiteY15" fmla="*/ 731520 h 731520"/>
              <a:gd name="connsiteX16" fmla="*/ 103822 w 874395"/>
              <a:gd name="connsiteY16" fmla="*/ 601027 h 731520"/>
              <a:gd name="connsiteX17" fmla="*/ 265748 w 874395"/>
              <a:gd name="connsiteY17" fmla="*/ 421957 h 731520"/>
              <a:gd name="connsiteX18" fmla="*/ 266700 w 874395"/>
              <a:gd name="connsiteY18" fmla="*/ 421957 h 731520"/>
              <a:gd name="connsiteX19" fmla="*/ 119063 w 874395"/>
              <a:gd name="connsiteY19" fmla="*/ 390525 h 731520"/>
              <a:gd name="connsiteX20" fmla="*/ 236220 w 874395"/>
              <a:gd name="connsiteY20" fmla="*/ 390525 h 731520"/>
              <a:gd name="connsiteX21" fmla="*/ 162878 w 874395"/>
              <a:gd name="connsiteY21" fmla="*/ 428625 h 731520"/>
              <a:gd name="connsiteX22" fmla="*/ 120015 w 874395"/>
              <a:gd name="connsiteY22" fmla="*/ 428625 h 731520"/>
              <a:gd name="connsiteX23" fmla="*/ 107633 w 874395"/>
              <a:gd name="connsiteY23" fmla="*/ 431482 h 731520"/>
              <a:gd name="connsiteX24" fmla="*/ 41910 w 874395"/>
              <a:gd name="connsiteY24" fmla="*/ 503873 h 731520"/>
              <a:gd name="connsiteX25" fmla="*/ 38100 w 874395"/>
              <a:gd name="connsiteY25" fmla="*/ 563880 h 731520"/>
              <a:gd name="connsiteX26" fmla="*/ 0 w 874395"/>
              <a:gd name="connsiteY26" fmla="*/ 563880 h 731520"/>
              <a:gd name="connsiteX27" fmla="*/ 4763 w 874395"/>
              <a:gd name="connsiteY27" fmla="*/ 499110 h 731520"/>
              <a:gd name="connsiteX28" fmla="*/ 100013 w 874395"/>
              <a:gd name="connsiteY28" fmla="*/ 393382 h 731520"/>
              <a:gd name="connsiteX29" fmla="*/ 100965 w 874395"/>
              <a:gd name="connsiteY29" fmla="*/ 393382 h 731520"/>
              <a:gd name="connsiteX30" fmla="*/ 638175 w 874395"/>
              <a:gd name="connsiteY30" fmla="*/ 389572 h 731520"/>
              <a:gd name="connsiteX31" fmla="*/ 758190 w 874395"/>
              <a:gd name="connsiteY31" fmla="*/ 389572 h 731520"/>
              <a:gd name="connsiteX32" fmla="*/ 775335 w 874395"/>
              <a:gd name="connsiteY32" fmla="*/ 392429 h 731520"/>
              <a:gd name="connsiteX33" fmla="*/ 870585 w 874395"/>
              <a:gd name="connsiteY33" fmla="*/ 498157 h 731520"/>
              <a:gd name="connsiteX34" fmla="*/ 874395 w 874395"/>
              <a:gd name="connsiteY34" fmla="*/ 561974 h 731520"/>
              <a:gd name="connsiteX35" fmla="*/ 836295 w 874395"/>
              <a:gd name="connsiteY35" fmla="*/ 561974 h 731520"/>
              <a:gd name="connsiteX36" fmla="*/ 832485 w 874395"/>
              <a:gd name="connsiteY36" fmla="*/ 501967 h 731520"/>
              <a:gd name="connsiteX37" fmla="*/ 766763 w 874395"/>
              <a:gd name="connsiteY37" fmla="*/ 429577 h 731520"/>
              <a:gd name="connsiteX38" fmla="*/ 753427 w 874395"/>
              <a:gd name="connsiteY38" fmla="*/ 427672 h 731520"/>
              <a:gd name="connsiteX39" fmla="*/ 711517 w 874395"/>
              <a:gd name="connsiteY39" fmla="*/ 427672 h 731520"/>
              <a:gd name="connsiteX40" fmla="*/ 638175 w 874395"/>
              <a:gd name="connsiteY40" fmla="*/ 389572 h 731520"/>
              <a:gd name="connsiteX41" fmla="*/ 202882 w 874395"/>
              <a:gd name="connsiteY41" fmla="*/ 75247 h 731520"/>
              <a:gd name="connsiteX42" fmla="*/ 258128 w 874395"/>
              <a:gd name="connsiteY42" fmla="*/ 89534 h 731520"/>
              <a:gd name="connsiteX43" fmla="*/ 248603 w 874395"/>
              <a:gd name="connsiteY43" fmla="*/ 128587 h 731520"/>
              <a:gd name="connsiteX44" fmla="*/ 202882 w 874395"/>
              <a:gd name="connsiteY44" fmla="*/ 112395 h 731520"/>
              <a:gd name="connsiteX45" fmla="*/ 129540 w 874395"/>
              <a:gd name="connsiteY45" fmla="*/ 185737 h 731520"/>
              <a:gd name="connsiteX46" fmla="*/ 129540 w 874395"/>
              <a:gd name="connsiteY46" fmla="*/ 240982 h 731520"/>
              <a:gd name="connsiteX47" fmla="*/ 202882 w 874395"/>
              <a:gd name="connsiteY47" fmla="*/ 314325 h 731520"/>
              <a:gd name="connsiteX48" fmla="*/ 257175 w 874395"/>
              <a:gd name="connsiteY48" fmla="*/ 290512 h 731520"/>
              <a:gd name="connsiteX49" fmla="*/ 274320 w 874395"/>
              <a:gd name="connsiteY49" fmla="*/ 326707 h 731520"/>
              <a:gd name="connsiteX50" fmla="*/ 203835 w 874395"/>
              <a:gd name="connsiteY50" fmla="*/ 352425 h 731520"/>
              <a:gd name="connsiteX51" fmla="*/ 91440 w 874395"/>
              <a:gd name="connsiteY51" fmla="*/ 241935 h 731520"/>
              <a:gd name="connsiteX52" fmla="*/ 91440 w 874395"/>
              <a:gd name="connsiteY52" fmla="*/ 186690 h 731520"/>
              <a:gd name="connsiteX53" fmla="*/ 202882 w 874395"/>
              <a:gd name="connsiteY53" fmla="*/ 75247 h 731520"/>
              <a:gd name="connsiteX54" fmla="*/ 687704 w 874395"/>
              <a:gd name="connsiteY54" fmla="*/ 74295 h 731520"/>
              <a:gd name="connsiteX55" fmla="*/ 799147 w 874395"/>
              <a:gd name="connsiteY55" fmla="*/ 185738 h 731520"/>
              <a:gd name="connsiteX56" fmla="*/ 799147 w 874395"/>
              <a:gd name="connsiteY56" fmla="*/ 240982 h 731520"/>
              <a:gd name="connsiteX57" fmla="*/ 687704 w 874395"/>
              <a:gd name="connsiteY57" fmla="*/ 352425 h 731520"/>
              <a:gd name="connsiteX58" fmla="*/ 606742 w 874395"/>
              <a:gd name="connsiteY58" fmla="*/ 317182 h 731520"/>
              <a:gd name="connsiteX59" fmla="*/ 622935 w 874395"/>
              <a:gd name="connsiteY59" fmla="*/ 274320 h 731520"/>
              <a:gd name="connsiteX60" fmla="*/ 687704 w 874395"/>
              <a:gd name="connsiteY60" fmla="*/ 314325 h 731520"/>
              <a:gd name="connsiteX61" fmla="*/ 761047 w 874395"/>
              <a:gd name="connsiteY61" fmla="*/ 240982 h 731520"/>
              <a:gd name="connsiteX62" fmla="*/ 761047 w 874395"/>
              <a:gd name="connsiteY62" fmla="*/ 185738 h 731520"/>
              <a:gd name="connsiteX63" fmla="*/ 687704 w 874395"/>
              <a:gd name="connsiteY63" fmla="*/ 112395 h 731520"/>
              <a:gd name="connsiteX64" fmla="*/ 627697 w 874395"/>
              <a:gd name="connsiteY64" fmla="*/ 143828 h 731520"/>
              <a:gd name="connsiteX65" fmla="*/ 620077 w 874395"/>
              <a:gd name="connsiteY65" fmla="*/ 97155 h 731520"/>
              <a:gd name="connsiteX66" fmla="*/ 687704 w 874395"/>
              <a:gd name="connsiteY66" fmla="*/ 74295 h 731520"/>
              <a:gd name="connsiteX67" fmla="*/ 437197 w 874395"/>
              <a:gd name="connsiteY67" fmla="*/ 38100 h 731520"/>
              <a:gd name="connsiteX68" fmla="*/ 322897 w 874395"/>
              <a:gd name="connsiteY68" fmla="*/ 152400 h 731520"/>
              <a:gd name="connsiteX69" fmla="*/ 322897 w 874395"/>
              <a:gd name="connsiteY69" fmla="*/ 228600 h 731520"/>
              <a:gd name="connsiteX70" fmla="*/ 437197 w 874395"/>
              <a:gd name="connsiteY70" fmla="*/ 342900 h 731520"/>
              <a:gd name="connsiteX71" fmla="*/ 551497 w 874395"/>
              <a:gd name="connsiteY71" fmla="*/ 228600 h 731520"/>
              <a:gd name="connsiteX72" fmla="*/ 551497 w 874395"/>
              <a:gd name="connsiteY72" fmla="*/ 152400 h 731520"/>
              <a:gd name="connsiteX73" fmla="*/ 437197 w 874395"/>
              <a:gd name="connsiteY73" fmla="*/ 38100 h 731520"/>
              <a:gd name="connsiteX74" fmla="*/ 437197 w 874395"/>
              <a:gd name="connsiteY74" fmla="*/ 0 h 731520"/>
              <a:gd name="connsiteX75" fmla="*/ 589597 w 874395"/>
              <a:gd name="connsiteY75" fmla="*/ 152400 h 731520"/>
              <a:gd name="connsiteX76" fmla="*/ 589597 w 874395"/>
              <a:gd name="connsiteY76" fmla="*/ 228600 h 731520"/>
              <a:gd name="connsiteX77" fmla="*/ 437197 w 874395"/>
              <a:gd name="connsiteY77" fmla="*/ 381000 h 731520"/>
              <a:gd name="connsiteX78" fmla="*/ 284797 w 874395"/>
              <a:gd name="connsiteY78" fmla="*/ 228600 h 731520"/>
              <a:gd name="connsiteX79" fmla="*/ 284797 w 874395"/>
              <a:gd name="connsiteY79" fmla="*/ 152400 h 731520"/>
              <a:gd name="connsiteX80" fmla="*/ 437197 w 874395"/>
              <a:gd name="connsiteY80" fmla="*/ 0 h 7315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</a:cxnLst>
            <a:rect l="l" t="t" r="r" b="b"/>
            <a:pathLst>
              <a:path w="874395" h="731520">
                <a:moveTo>
                  <a:pt x="300990" y="416242"/>
                </a:moveTo>
                <a:lnTo>
                  <a:pt x="437198" y="485774"/>
                </a:lnTo>
                <a:lnTo>
                  <a:pt x="574358" y="416242"/>
                </a:lnTo>
                <a:lnTo>
                  <a:pt x="609600" y="421957"/>
                </a:lnTo>
                <a:cubicBezTo>
                  <a:pt x="696278" y="441007"/>
                  <a:pt x="761048" y="513397"/>
                  <a:pt x="772478" y="601027"/>
                </a:cubicBezTo>
                <a:cubicBezTo>
                  <a:pt x="778193" y="641985"/>
                  <a:pt x="780098" y="685800"/>
                  <a:pt x="781050" y="731520"/>
                </a:cubicBezTo>
                <a:lnTo>
                  <a:pt x="742950" y="731520"/>
                </a:lnTo>
                <a:cubicBezTo>
                  <a:pt x="742950" y="687704"/>
                  <a:pt x="740093" y="644842"/>
                  <a:pt x="735330" y="605789"/>
                </a:cubicBezTo>
                <a:cubicBezTo>
                  <a:pt x="725805" y="533399"/>
                  <a:pt x="673418" y="475297"/>
                  <a:pt x="602933" y="459105"/>
                </a:cubicBezTo>
                <a:lnTo>
                  <a:pt x="581025" y="456247"/>
                </a:lnTo>
                <a:lnTo>
                  <a:pt x="438150" y="528637"/>
                </a:lnTo>
                <a:lnTo>
                  <a:pt x="295275" y="456247"/>
                </a:lnTo>
                <a:lnTo>
                  <a:pt x="273368" y="459105"/>
                </a:lnTo>
                <a:cubicBezTo>
                  <a:pt x="202882" y="475297"/>
                  <a:pt x="149543" y="534352"/>
                  <a:pt x="140970" y="605789"/>
                </a:cubicBezTo>
                <a:cubicBezTo>
                  <a:pt x="136208" y="644842"/>
                  <a:pt x="134303" y="686752"/>
                  <a:pt x="133350" y="731520"/>
                </a:cubicBezTo>
                <a:lnTo>
                  <a:pt x="95250" y="731520"/>
                </a:lnTo>
                <a:cubicBezTo>
                  <a:pt x="96203" y="685800"/>
                  <a:pt x="99060" y="641985"/>
                  <a:pt x="103822" y="601027"/>
                </a:cubicBezTo>
                <a:cubicBezTo>
                  <a:pt x="114300" y="513397"/>
                  <a:pt x="180023" y="441007"/>
                  <a:pt x="265748" y="421957"/>
                </a:cubicBezTo>
                <a:lnTo>
                  <a:pt x="266700" y="421957"/>
                </a:lnTo>
                <a:close/>
                <a:moveTo>
                  <a:pt x="119063" y="390525"/>
                </a:moveTo>
                <a:lnTo>
                  <a:pt x="236220" y="390525"/>
                </a:lnTo>
                <a:cubicBezTo>
                  <a:pt x="209550" y="399098"/>
                  <a:pt x="184785" y="412432"/>
                  <a:pt x="162878" y="428625"/>
                </a:cubicBezTo>
                <a:lnTo>
                  <a:pt x="120015" y="428625"/>
                </a:lnTo>
                <a:lnTo>
                  <a:pt x="107633" y="431482"/>
                </a:lnTo>
                <a:cubicBezTo>
                  <a:pt x="72390" y="439102"/>
                  <a:pt x="46673" y="468630"/>
                  <a:pt x="41910" y="503873"/>
                </a:cubicBezTo>
                <a:cubicBezTo>
                  <a:pt x="40005" y="522923"/>
                  <a:pt x="39053" y="542925"/>
                  <a:pt x="38100" y="563880"/>
                </a:cubicBezTo>
                <a:lnTo>
                  <a:pt x="0" y="563880"/>
                </a:lnTo>
                <a:cubicBezTo>
                  <a:pt x="953" y="541020"/>
                  <a:pt x="1905" y="519113"/>
                  <a:pt x="4763" y="499110"/>
                </a:cubicBezTo>
                <a:cubicBezTo>
                  <a:pt x="10478" y="446723"/>
                  <a:pt x="49530" y="404813"/>
                  <a:pt x="100013" y="393382"/>
                </a:cubicBezTo>
                <a:lnTo>
                  <a:pt x="100965" y="393382"/>
                </a:lnTo>
                <a:close/>
                <a:moveTo>
                  <a:pt x="638175" y="389572"/>
                </a:moveTo>
                <a:lnTo>
                  <a:pt x="758190" y="389572"/>
                </a:lnTo>
                <a:lnTo>
                  <a:pt x="775335" y="392429"/>
                </a:lnTo>
                <a:cubicBezTo>
                  <a:pt x="825817" y="403860"/>
                  <a:pt x="863917" y="446722"/>
                  <a:pt x="870585" y="498157"/>
                </a:cubicBezTo>
                <a:cubicBezTo>
                  <a:pt x="873442" y="519112"/>
                  <a:pt x="874395" y="540067"/>
                  <a:pt x="874395" y="561974"/>
                </a:cubicBezTo>
                <a:lnTo>
                  <a:pt x="836295" y="561974"/>
                </a:lnTo>
                <a:cubicBezTo>
                  <a:pt x="836295" y="541019"/>
                  <a:pt x="834390" y="521017"/>
                  <a:pt x="832485" y="501967"/>
                </a:cubicBezTo>
                <a:cubicBezTo>
                  <a:pt x="827723" y="466724"/>
                  <a:pt x="802005" y="437197"/>
                  <a:pt x="766763" y="429577"/>
                </a:cubicBezTo>
                <a:lnTo>
                  <a:pt x="753427" y="427672"/>
                </a:lnTo>
                <a:lnTo>
                  <a:pt x="711517" y="427672"/>
                </a:lnTo>
                <a:cubicBezTo>
                  <a:pt x="689610" y="411479"/>
                  <a:pt x="664845" y="398144"/>
                  <a:pt x="638175" y="389572"/>
                </a:cubicBezTo>
                <a:close/>
                <a:moveTo>
                  <a:pt x="202882" y="75247"/>
                </a:moveTo>
                <a:cubicBezTo>
                  <a:pt x="222885" y="75247"/>
                  <a:pt x="241935" y="80009"/>
                  <a:pt x="258128" y="89534"/>
                </a:cubicBezTo>
                <a:cubicBezTo>
                  <a:pt x="253365" y="101917"/>
                  <a:pt x="250507" y="115252"/>
                  <a:pt x="248603" y="128587"/>
                </a:cubicBezTo>
                <a:cubicBezTo>
                  <a:pt x="236220" y="118109"/>
                  <a:pt x="220028" y="112395"/>
                  <a:pt x="202882" y="112395"/>
                </a:cubicBezTo>
                <a:cubicBezTo>
                  <a:pt x="161925" y="112395"/>
                  <a:pt x="129540" y="145732"/>
                  <a:pt x="129540" y="185737"/>
                </a:cubicBezTo>
                <a:lnTo>
                  <a:pt x="129540" y="240982"/>
                </a:lnTo>
                <a:cubicBezTo>
                  <a:pt x="129540" y="281940"/>
                  <a:pt x="162878" y="314325"/>
                  <a:pt x="202882" y="314325"/>
                </a:cubicBezTo>
                <a:cubicBezTo>
                  <a:pt x="224790" y="314325"/>
                  <a:pt x="243840" y="305752"/>
                  <a:pt x="257175" y="290512"/>
                </a:cubicBezTo>
                <a:cubicBezTo>
                  <a:pt x="261938" y="302894"/>
                  <a:pt x="267653" y="315277"/>
                  <a:pt x="274320" y="326707"/>
                </a:cubicBezTo>
                <a:cubicBezTo>
                  <a:pt x="255270" y="342900"/>
                  <a:pt x="230505" y="352425"/>
                  <a:pt x="203835" y="352425"/>
                </a:cubicBezTo>
                <a:cubicBezTo>
                  <a:pt x="141922" y="352425"/>
                  <a:pt x="92392" y="302894"/>
                  <a:pt x="91440" y="241935"/>
                </a:cubicBezTo>
                <a:lnTo>
                  <a:pt x="91440" y="186690"/>
                </a:lnTo>
                <a:cubicBezTo>
                  <a:pt x="91440" y="124777"/>
                  <a:pt x="141922" y="75247"/>
                  <a:pt x="202882" y="75247"/>
                </a:cubicBezTo>
                <a:close/>
                <a:moveTo>
                  <a:pt x="687704" y="74295"/>
                </a:moveTo>
                <a:cubicBezTo>
                  <a:pt x="749617" y="74295"/>
                  <a:pt x="799147" y="124778"/>
                  <a:pt x="799147" y="185738"/>
                </a:cubicBezTo>
                <a:lnTo>
                  <a:pt x="799147" y="240982"/>
                </a:lnTo>
                <a:cubicBezTo>
                  <a:pt x="799147" y="302895"/>
                  <a:pt x="748664" y="352425"/>
                  <a:pt x="687704" y="352425"/>
                </a:cubicBezTo>
                <a:cubicBezTo>
                  <a:pt x="656272" y="352425"/>
                  <a:pt x="626745" y="339090"/>
                  <a:pt x="606742" y="317182"/>
                </a:cubicBezTo>
                <a:cubicBezTo>
                  <a:pt x="614362" y="303848"/>
                  <a:pt x="619124" y="289560"/>
                  <a:pt x="622935" y="274320"/>
                </a:cubicBezTo>
                <a:cubicBezTo>
                  <a:pt x="634364" y="298132"/>
                  <a:pt x="659129" y="314325"/>
                  <a:pt x="687704" y="314325"/>
                </a:cubicBezTo>
                <a:cubicBezTo>
                  <a:pt x="727710" y="314325"/>
                  <a:pt x="760095" y="280988"/>
                  <a:pt x="761047" y="240982"/>
                </a:cubicBezTo>
                <a:lnTo>
                  <a:pt x="761047" y="185738"/>
                </a:lnTo>
                <a:cubicBezTo>
                  <a:pt x="761047" y="144780"/>
                  <a:pt x="727710" y="112395"/>
                  <a:pt x="687704" y="112395"/>
                </a:cubicBezTo>
                <a:cubicBezTo>
                  <a:pt x="662939" y="112395"/>
                  <a:pt x="641032" y="124778"/>
                  <a:pt x="627697" y="143828"/>
                </a:cubicBezTo>
                <a:cubicBezTo>
                  <a:pt x="626745" y="127635"/>
                  <a:pt x="624839" y="112395"/>
                  <a:pt x="620077" y="97155"/>
                </a:cubicBezTo>
                <a:cubicBezTo>
                  <a:pt x="639127" y="82867"/>
                  <a:pt x="661987" y="74295"/>
                  <a:pt x="687704" y="74295"/>
                </a:cubicBezTo>
                <a:close/>
                <a:moveTo>
                  <a:pt x="437197" y="38100"/>
                </a:moveTo>
                <a:cubicBezTo>
                  <a:pt x="374332" y="38100"/>
                  <a:pt x="322897" y="89535"/>
                  <a:pt x="322897" y="152400"/>
                </a:cubicBezTo>
                <a:lnTo>
                  <a:pt x="322897" y="228600"/>
                </a:lnTo>
                <a:cubicBezTo>
                  <a:pt x="322897" y="291465"/>
                  <a:pt x="374332" y="342900"/>
                  <a:pt x="437197" y="342900"/>
                </a:cubicBezTo>
                <a:cubicBezTo>
                  <a:pt x="500062" y="342900"/>
                  <a:pt x="551497" y="291465"/>
                  <a:pt x="551497" y="228600"/>
                </a:cubicBezTo>
                <a:lnTo>
                  <a:pt x="551497" y="152400"/>
                </a:lnTo>
                <a:cubicBezTo>
                  <a:pt x="551497" y="89535"/>
                  <a:pt x="500062" y="38100"/>
                  <a:pt x="437197" y="38100"/>
                </a:cubicBezTo>
                <a:close/>
                <a:moveTo>
                  <a:pt x="437197" y="0"/>
                </a:moveTo>
                <a:cubicBezTo>
                  <a:pt x="521017" y="0"/>
                  <a:pt x="589597" y="68580"/>
                  <a:pt x="589597" y="152400"/>
                </a:cubicBezTo>
                <a:lnTo>
                  <a:pt x="589597" y="228600"/>
                </a:lnTo>
                <a:cubicBezTo>
                  <a:pt x="589597" y="312420"/>
                  <a:pt x="521017" y="381000"/>
                  <a:pt x="437197" y="381000"/>
                </a:cubicBezTo>
                <a:cubicBezTo>
                  <a:pt x="353377" y="381000"/>
                  <a:pt x="284797" y="313373"/>
                  <a:pt x="284797" y="228600"/>
                </a:cubicBezTo>
                <a:lnTo>
                  <a:pt x="284797" y="152400"/>
                </a:lnTo>
                <a:cubicBezTo>
                  <a:pt x="284797" y="68580"/>
                  <a:pt x="353377" y="0"/>
                  <a:pt x="437197" y="0"/>
                </a:cubicBezTo>
                <a:close/>
              </a:path>
            </a:pathLst>
          </a:custGeom>
          <a:solidFill>
            <a:schemeClr val="accent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de-DE">
              <a:solidFill>
                <a:schemeClr val="accent2"/>
              </a:solidFill>
            </a:endParaRPr>
          </a:p>
        </p:txBody>
      </p:sp>
      <p:sp>
        <p:nvSpPr>
          <p:cNvPr id="29" name="Rectangle: Rounded Corners 28">
            <a:extLst>
              <a:ext uri="{FF2B5EF4-FFF2-40B4-BE49-F238E27FC236}">
                <a16:creationId xmlns:a16="http://schemas.microsoft.com/office/drawing/2014/main" id="{7C79F55C-0277-E3C1-24A9-87EFC08EFCE5}"/>
              </a:ext>
            </a:extLst>
          </p:cNvPr>
          <p:cNvSpPr/>
          <p:nvPr/>
        </p:nvSpPr>
        <p:spPr bwMode="gray">
          <a:xfrm>
            <a:off x="2964965" y="9289565"/>
            <a:ext cx="1963305" cy="517237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lnSpc>
                <a:spcPct val="110000"/>
              </a:lnSpc>
              <a:spcBef>
                <a:spcPts val="600"/>
              </a:spcBef>
            </a:pPr>
            <a:r>
              <a:rPr lang="de-DE" sz="2000" b="0" i="0" dirty="0" err="1">
                <a:solidFill>
                  <a:schemeClr val="tx1"/>
                </a:solidFill>
                <a:effectLst/>
                <a:latin typeface="notosans"/>
              </a:rPr>
              <a:t>composition</a:t>
            </a:r>
            <a:r>
              <a:rPr lang="de-DE" sz="2000" b="0" i="0" dirty="0">
                <a:solidFill>
                  <a:schemeClr val="tx1"/>
                </a:solidFill>
                <a:effectLst/>
                <a:latin typeface="notosans"/>
              </a:rPr>
              <a:t> </a:t>
            </a:r>
            <a:endParaRPr lang="de-DE" sz="2000" b="1" dirty="0">
              <a:solidFill>
                <a:schemeClr val="tx1"/>
              </a:solidFill>
            </a:endParaRPr>
          </a:p>
        </p:txBody>
      </p:sp>
      <p:sp>
        <p:nvSpPr>
          <p:cNvPr id="30" name="Freihandform: Form 124">
            <a:extLst>
              <a:ext uri="{FF2B5EF4-FFF2-40B4-BE49-F238E27FC236}">
                <a16:creationId xmlns:a16="http://schemas.microsoft.com/office/drawing/2014/main" id="{4BF8E1EB-EBA4-E016-FF0C-8C0AC3746EF9}"/>
              </a:ext>
            </a:extLst>
          </p:cNvPr>
          <p:cNvSpPr>
            <a:spLocks noChangeAspect="1"/>
          </p:cNvSpPr>
          <p:nvPr/>
        </p:nvSpPr>
        <p:spPr bwMode="gray">
          <a:xfrm>
            <a:off x="6522431" y="9351279"/>
            <a:ext cx="1084038" cy="1124277"/>
          </a:xfrm>
          <a:custGeom>
            <a:avLst/>
            <a:gdLst>
              <a:gd name="connsiteX0" fmla="*/ 205740 w 686753"/>
              <a:gd name="connsiteY0" fmla="*/ 416242 h 731520"/>
              <a:gd name="connsiteX1" fmla="*/ 341948 w 686753"/>
              <a:gd name="connsiteY1" fmla="*/ 485774 h 731520"/>
              <a:gd name="connsiteX2" fmla="*/ 479108 w 686753"/>
              <a:gd name="connsiteY2" fmla="*/ 416242 h 731520"/>
              <a:gd name="connsiteX3" fmla="*/ 514350 w 686753"/>
              <a:gd name="connsiteY3" fmla="*/ 421957 h 731520"/>
              <a:gd name="connsiteX4" fmla="*/ 676275 w 686753"/>
              <a:gd name="connsiteY4" fmla="*/ 601027 h 731520"/>
              <a:gd name="connsiteX5" fmla="*/ 686753 w 686753"/>
              <a:gd name="connsiteY5" fmla="*/ 731520 h 731520"/>
              <a:gd name="connsiteX6" fmla="*/ 648653 w 686753"/>
              <a:gd name="connsiteY6" fmla="*/ 731520 h 731520"/>
              <a:gd name="connsiteX7" fmla="*/ 641033 w 686753"/>
              <a:gd name="connsiteY7" fmla="*/ 605789 h 731520"/>
              <a:gd name="connsiteX8" fmla="*/ 508635 w 686753"/>
              <a:gd name="connsiteY8" fmla="*/ 459105 h 731520"/>
              <a:gd name="connsiteX9" fmla="*/ 486728 w 686753"/>
              <a:gd name="connsiteY9" fmla="*/ 456247 h 731520"/>
              <a:gd name="connsiteX10" fmla="*/ 343853 w 686753"/>
              <a:gd name="connsiteY10" fmla="*/ 528637 h 731520"/>
              <a:gd name="connsiteX11" fmla="*/ 200978 w 686753"/>
              <a:gd name="connsiteY11" fmla="*/ 456247 h 731520"/>
              <a:gd name="connsiteX12" fmla="*/ 179070 w 686753"/>
              <a:gd name="connsiteY12" fmla="*/ 459105 h 731520"/>
              <a:gd name="connsiteX13" fmla="*/ 46673 w 686753"/>
              <a:gd name="connsiteY13" fmla="*/ 605789 h 731520"/>
              <a:gd name="connsiteX14" fmla="*/ 38100 w 686753"/>
              <a:gd name="connsiteY14" fmla="*/ 731520 h 731520"/>
              <a:gd name="connsiteX15" fmla="*/ 0 w 686753"/>
              <a:gd name="connsiteY15" fmla="*/ 731520 h 731520"/>
              <a:gd name="connsiteX16" fmla="*/ 8573 w 686753"/>
              <a:gd name="connsiteY16" fmla="*/ 601027 h 731520"/>
              <a:gd name="connsiteX17" fmla="*/ 170498 w 686753"/>
              <a:gd name="connsiteY17" fmla="*/ 421957 h 731520"/>
              <a:gd name="connsiteX18" fmla="*/ 171450 w 686753"/>
              <a:gd name="connsiteY18" fmla="*/ 421957 h 731520"/>
              <a:gd name="connsiteX19" fmla="*/ 341947 w 686753"/>
              <a:gd name="connsiteY19" fmla="*/ 38100 h 731520"/>
              <a:gd name="connsiteX20" fmla="*/ 227647 w 686753"/>
              <a:gd name="connsiteY20" fmla="*/ 152400 h 731520"/>
              <a:gd name="connsiteX21" fmla="*/ 227647 w 686753"/>
              <a:gd name="connsiteY21" fmla="*/ 228600 h 731520"/>
              <a:gd name="connsiteX22" fmla="*/ 341947 w 686753"/>
              <a:gd name="connsiteY22" fmla="*/ 342900 h 731520"/>
              <a:gd name="connsiteX23" fmla="*/ 456247 w 686753"/>
              <a:gd name="connsiteY23" fmla="*/ 228600 h 731520"/>
              <a:gd name="connsiteX24" fmla="*/ 456247 w 686753"/>
              <a:gd name="connsiteY24" fmla="*/ 152400 h 731520"/>
              <a:gd name="connsiteX25" fmla="*/ 341947 w 686753"/>
              <a:gd name="connsiteY25" fmla="*/ 38100 h 731520"/>
              <a:gd name="connsiteX26" fmla="*/ 341947 w 686753"/>
              <a:gd name="connsiteY26" fmla="*/ 0 h 731520"/>
              <a:gd name="connsiteX27" fmla="*/ 494347 w 686753"/>
              <a:gd name="connsiteY27" fmla="*/ 152400 h 731520"/>
              <a:gd name="connsiteX28" fmla="*/ 494347 w 686753"/>
              <a:gd name="connsiteY28" fmla="*/ 228600 h 731520"/>
              <a:gd name="connsiteX29" fmla="*/ 341947 w 686753"/>
              <a:gd name="connsiteY29" fmla="*/ 381000 h 731520"/>
              <a:gd name="connsiteX30" fmla="*/ 189547 w 686753"/>
              <a:gd name="connsiteY30" fmla="*/ 228600 h 731520"/>
              <a:gd name="connsiteX31" fmla="*/ 189547 w 686753"/>
              <a:gd name="connsiteY31" fmla="*/ 152400 h 731520"/>
              <a:gd name="connsiteX32" fmla="*/ 341947 w 686753"/>
              <a:gd name="connsiteY32" fmla="*/ 0 h 7315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</a:cxnLst>
            <a:rect l="l" t="t" r="r" b="b"/>
            <a:pathLst>
              <a:path w="686753" h="731520">
                <a:moveTo>
                  <a:pt x="205740" y="416242"/>
                </a:moveTo>
                <a:lnTo>
                  <a:pt x="341948" y="485774"/>
                </a:lnTo>
                <a:lnTo>
                  <a:pt x="479108" y="416242"/>
                </a:lnTo>
                <a:lnTo>
                  <a:pt x="514350" y="421957"/>
                </a:lnTo>
                <a:cubicBezTo>
                  <a:pt x="600075" y="441007"/>
                  <a:pt x="665798" y="513397"/>
                  <a:pt x="676275" y="601027"/>
                </a:cubicBezTo>
                <a:cubicBezTo>
                  <a:pt x="681038" y="641985"/>
                  <a:pt x="683895" y="685800"/>
                  <a:pt x="686753" y="731520"/>
                </a:cubicBezTo>
                <a:lnTo>
                  <a:pt x="648653" y="731520"/>
                </a:lnTo>
                <a:cubicBezTo>
                  <a:pt x="648653" y="687704"/>
                  <a:pt x="645795" y="644842"/>
                  <a:pt x="641033" y="605789"/>
                </a:cubicBezTo>
                <a:cubicBezTo>
                  <a:pt x="631508" y="533399"/>
                  <a:pt x="579120" y="475297"/>
                  <a:pt x="508635" y="459105"/>
                </a:cubicBezTo>
                <a:lnTo>
                  <a:pt x="486728" y="456247"/>
                </a:lnTo>
                <a:lnTo>
                  <a:pt x="343853" y="528637"/>
                </a:lnTo>
                <a:lnTo>
                  <a:pt x="200978" y="456247"/>
                </a:lnTo>
                <a:lnTo>
                  <a:pt x="179070" y="459105"/>
                </a:lnTo>
                <a:cubicBezTo>
                  <a:pt x="108585" y="475297"/>
                  <a:pt x="55245" y="534352"/>
                  <a:pt x="46673" y="605789"/>
                </a:cubicBezTo>
                <a:cubicBezTo>
                  <a:pt x="40958" y="644842"/>
                  <a:pt x="39053" y="687704"/>
                  <a:pt x="38100" y="731520"/>
                </a:cubicBezTo>
                <a:lnTo>
                  <a:pt x="0" y="731520"/>
                </a:lnTo>
                <a:cubicBezTo>
                  <a:pt x="953" y="685800"/>
                  <a:pt x="3810" y="641985"/>
                  <a:pt x="8573" y="601027"/>
                </a:cubicBezTo>
                <a:cubicBezTo>
                  <a:pt x="19050" y="513397"/>
                  <a:pt x="83820" y="441007"/>
                  <a:pt x="170498" y="421957"/>
                </a:cubicBezTo>
                <a:lnTo>
                  <a:pt x="171450" y="421957"/>
                </a:lnTo>
                <a:close/>
                <a:moveTo>
                  <a:pt x="341947" y="38100"/>
                </a:moveTo>
                <a:cubicBezTo>
                  <a:pt x="279082" y="38100"/>
                  <a:pt x="227647" y="89535"/>
                  <a:pt x="227647" y="152400"/>
                </a:cubicBezTo>
                <a:lnTo>
                  <a:pt x="227647" y="228600"/>
                </a:lnTo>
                <a:cubicBezTo>
                  <a:pt x="227647" y="291465"/>
                  <a:pt x="279082" y="342900"/>
                  <a:pt x="341947" y="342900"/>
                </a:cubicBezTo>
                <a:cubicBezTo>
                  <a:pt x="404812" y="342900"/>
                  <a:pt x="456247" y="291465"/>
                  <a:pt x="456247" y="228600"/>
                </a:cubicBezTo>
                <a:lnTo>
                  <a:pt x="456247" y="152400"/>
                </a:lnTo>
                <a:cubicBezTo>
                  <a:pt x="456247" y="89535"/>
                  <a:pt x="404812" y="38100"/>
                  <a:pt x="341947" y="38100"/>
                </a:cubicBezTo>
                <a:close/>
                <a:moveTo>
                  <a:pt x="341947" y="0"/>
                </a:moveTo>
                <a:cubicBezTo>
                  <a:pt x="425767" y="0"/>
                  <a:pt x="494347" y="68580"/>
                  <a:pt x="494347" y="152400"/>
                </a:cubicBezTo>
                <a:lnTo>
                  <a:pt x="494347" y="228600"/>
                </a:lnTo>
                <a:cubicBezTo>
                  <a:pt x="494347" y="312420"/>
                  <a:pt x="425767" y="381000"/>
                  <a:pt x="341947" y="381000"/>
                </a:cubicBezTo>
                <a:cubicBezTo>
                  <a:pt x="258127" y="381000"/>
                  <a:pt x="189547" y="313373"/>
                  <a:pt x="189547" y="228600"/>
                </a:cubicBezTo>
                <a:lnTo>
                  <a:pt x="189547" y="152400"/>
                </a:lnTo>
                <a:cubicBezTo>
                  <a:pt x="189547" y="68580"/>
                  <a:pt x="258127" y="0"/>
                  <a:pt x="341947" y="0"/>
                </a:cubicBezTo>
                <a:close/>
              </a:path>
            </a:pathLst>
          </a:custGeom>
          <a:solidFill>
            <a:schemeClr val="accent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de-DE">
              <a:solidFill>
                <a:schemeClr val="accent2"/>
              </a:solidFill>
            </a:endParaRPr>
          </a:p>
        </p:txBody>
      </p:sp>
      <p:sp>
        <p:nvSpPr>
          <p:cNvPr id="31" name="Grafik 34">
            <a:extLst>
              <a:ext uri="{FF2B5EF4-FFF2-40B4-BE49-F238E27FC236}">
                <a16:creationId xmlns:a16="http://schemas.microsoft.com/office/drawing/2014/main" id="{E2A4363B-1218-738C-9A19-7CEF0F1F3329}"/>
              </a:ext>
            </a:extLst>
          </p:cNvPr>
          <p:cNvSpPr>
            <a:spLocks noChangeAspect="1"/>
          </p:cNvSpPr>
          <p:nvPr/>
        </p:nvSpPr>
        <p:spPr bwMode="gray">
          <a:xfrm>
            <a:off x="7284949" y="9160246"/>
            <a:ext cx="273000" cy="451500"/>
          </a:xfrm>
          <a:custGeom>
            <a:avLst/>
            <a:gdLst>
              <a:gd name="connsiteX0" fmla="*/ 0 w 273000"/>
              <a:gd name="connsiteY0" fmla="*/ 115500 h 451500"/>
              <a:gd name="connsiteX1" fmla="*/ 136500 w 273000"/>
              <a:gd name="connsiteY1" fmla="*/ 0 h 451500"/>
              <a:gd name="connsiteX2" fmla="*/ 273000 w 273000"/>
              <a:gd name="connsiteY2" fmla="*/ 115500 h 451500"/>
              <a:gd name="connsiteX3" fmla="*/ 182175 w 273000"/>
              <a:gd name="connsiteY3" fmla="*/ 251318 h 451500"/>
              <a:gd name="connsiteX4" fmla="*/ 147000 w 273000"/>
              <a:gd name="connsiteY4" fmla="*/ 264548 h 451500"/>
              <a:gd name="connsiteX5" fmla="*/ 147000 w 273000"/>
              <a:gd name="connsiteY5" fmla="*/ 346500 h 451500"/>
              <a:gd name="connsiteX6" fmla="*/ 126000 w 273000"/>
              <a:gd name="connsiteY6" fmla="*/ 346500 h 451500"/>
              <a:gd name="connsiteX7" fmla="*/ 126000 w 273000"/>
              <a:gd name="connsiteY7" fmla="*/ 249953 h 451500"/>
              <a:gd name="connsiteX8" fmla="*/ 174825 w 273000"/>
              <a:gd name="connsiteY8" fmla="*/ 231683 h 451500"/>
              <a:gd name="connsiteX9" fmla="*/ 252000 w 273000"/>
              <a:gd name="connsiteY9" fmla="*/ 115500 h 451500"/>
              <a:gd name="connsiteX10" fmla="*/ 136500 w 273000"/>
              <a:gd name="connsiteY10" fmla="*/ 21000 h 451500"/>
              <a:gd name="connsiteX11" fmla="*/ 21000 w 273000"/>
              <a:gd name="connsiteY11" fmla="*/ 115500 h 451500"/>
              <a:gd name="connsiteX12" fmla="*/ 21000 w 273000"/>
              <a:gd name="connsiteY12" fmla="*/ 126000 h 451500"/>
              <a:gd name="connsiteX13" fmla="*/ 0 w 273000"/>
              <a:gd name="connsiteY13" fmla="*/ 126000 h 451500"/>
              <a:gd name="connsiteX14" fmla="*/ 0 w 273000"/>
              <a:gd name="connsiteY14" fmla="*/ 115500 h 451500"/>
              <a:gd name="connsiteX15" fmla="*/ 136500 w 273000"/>
              <a:gd name="connsiteY15" fmla="*/ 451500 h 451500"/>
              <a:gd name="connsiteX16" fmla="*/ 157500 w 273000"/>
              <a:gd name="connsiteY16" fmla="*/ 430500 h 451500"/>
              <a:gd name="connsiteX17" fmla="*/ 136500 w 273000"/>
              <a:gd name="connsiteY17" fmla="*/ 409500 h 451500"/>
              <a:gd name="connsiteX18" fmla="*/ 115500 w 273000"/>
              <a:gd name="connsiteY18" fmla="*/ 430500 h 451500"/>
              <a:gd name="connsiteX19" fmla="*/ 136500 w 273000"/>
              <a:gd name="connsiteY19" fmla="*/ 451500 h 451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273000" h="451500">
                <a:moveTo>
                  <a:pt x="0" y="115500"/>
                </a:moveTo>
                <a:cubicBezTo>
                  <a:pt x="0" y="0"/>
                  <a:pt x="75705" y="0"/>
                  <a:pt x="136500" y="0"/>
                </a:cubicBezTo>
                <a:cubicBezTo>
                  <a:pt x="218453" y="0"/>
                  <a:pt x="273000" y="19635"/>
                  <a:pt x="273000" y="115500"/>
                </a:cubicBezTo>
                <a:cubicBezTo>
                  <a:pt x="273000" y="153563"/>
                  <a:pt x="273000" y="217298"/>
                  <a:pt x="182175" y="251318"/>
                </a:cubicBezTo>
                <a:lnTo>
                  <a:pt x="147000" y="264548"/>
                </a:lnTo>
                <a:lnTo>
                  <a:pt x="147000" y="346500"/>
                </a:lnTo>
                <a:lnTo>
                  <a:pt x="126000" y="346500"/>
                </a:lnTo>
                <a:lnTo>
                  <a:pt x="126000" y="249953"/>
                </a:lnTo>
                <a:lnTo>
                  <a:pt x="174825" y="231683"/>
                </a:lnTo>
                <a:cubicBezTo>
                  <a:pt x="246120" y="204750"/>
                  <a:pt x="252000" y="161490"/>
                  <a:pt x="252000" y="115500"/>
                </a:cubicBezTo>
                <a:cubicBezTo>
                  <a:pt x="252000" y="43943"/>
                  <a:pt x="223913" y="21000"/>
                  <a:pt x="136500" y="21000"/>
                </a:cubicBezTo>
                <a:cubicBezTo>
                  <a:pt x="71977" y="21000"/>
                  <a:pt x="21000" y="21000"/>
                  <a:pt x="21000" y="115500"/>
                </a:cubicBezTo>
                <a:lnTo>
                  <a:pt x="21000" y="126000"/>
                </a:lnTo>
                <a:lnTo>
                  <a:pt x="0" y="126000"/>
                </a:lnTo>
                <a:lnTo>
                  <a:pt x="0" y="115500"/>
                </a:lnTo>
                <a:close/>
                <a:moveTo>
                  <a:pt x="136500" y="451500"/>
                </a:moveTo>
                <a:cubicBezTo>
                  <a:pt x="148098" y="451500"/>
                  <a:pt x="157500" y="442098"/>
                  <a:pt x="157500" y="430500"/>
                </a:cubicBezTo>
                <a:cubicBezTo>
                  <a:pt x="157500" y="418902"/>
                  <a:pt x="148098" y="409500"/>
                  <a:pt x="136500" y="409500"/>
                </a:cubicBezTo>
                <a:cubicBezTo>
                  <a:pt x="124902" y="409500"/>
                  <a:pt x="115500" y="418902"/>
                  <a:pt x="115500" y="430500"/>
                </a:cubicBezTo>
                <a:cubicBezTo>
                  <a:pt x="115500" y="442098"/>
                  <a:pt x="124902" y="451500"/>
                  <a:pt x="136500" y="451500"/>
                </a:cubicBezTo>
                <a:close/>
              </a:path>
            </a:pathLst>
          </a:custGeom>
          <a:solidFill>
            <a:schemeClr val="tx1"/>
          </a:solidFill>
          <a:ln w="5159" cap="flat">
            <a:noFill/>
            <a:prstDash val="solid"/>
            <a:miter/>
          </a:ln>
        </p:spPr>
        <p:txBody>
          <a:bodyPr rtlCol="0" anchor="ctr"/>
          <a:lstStyle/>
          <a:p>
            <a:endParaRPr lang="de-DE">
              <a:solidFill>
                <a:schemeClr val="accent2"/>
              </a:solidFill>
            </a:endParaRPr>
          </a:p>
        </p:txBody>
      </p:sp>
      <p:sp>
        <p:nvSpPr>
          <p:cNvPr id="32" name="Grafik 18">
            <a:extLst>
              <a:ext uri="{FF2B5EF4-FFF2-40B4-BE49-F238E27FC236}">
                <a16:creationId xmlns:a16="http://schemas.microsoft.com/office/drawing/2014/main" id="{2708EFAA-38A4-0DF5-1A55-4B0A2AAD3F1F}"/>
              </a:ext>
            </a:extLst>
          </p:cNvPr>
          <p:cNvSpPr>
            <a:spLocks noChangeAspect="1"/>
          </p:cNvSpPr>
          <p:nvPr/>
        </p:nvSpPr>
        <p:spPr bwMode="gray">
          <a:xfrm>
            <a:off x="7620352" y="9160245"/>
            <a:ext cx="45719" cy="491479"/>
          </a:xfrm>
          <a:custGeom>
            <a:avLst/>
            <a:gdLst>
              <a:gd name="connsiteX0" fmla="*/ 31500 w 42000"/>
              <a:gd name="connsiteY0" fmla="*/ 0 h 451500"/>
              <a:gd name="connsiteX1" fmla="*/ 10500 w 42000"/>
              <a:gd name="connsiteY1" fmla="*/ 0 h 451500"/>
              <a:gd name="connsiteX2" fmla="*/ 10500 w 42000"/>
              <a:gd name="connsiteY2" fmla="*/ 346500 h 451500"/>
              <a:gd name="connsiteX3" fmla="*/ 31500 w 42000"/>
              <a:gd name="connsiteY3" fmla="*/ 346500 h 451500"/>
              <a:gd name="connsiteX4" fmla="*/ 31500 w 42000"/>
              <a:gd name="connsiteY4" fmla="*/ 0 h 451500"/>
              <a:gd name="connsiteX5" fmla="*/ 21000 w 42000"/>
              <a:gd name="connsiteY5" fmla="*/ 451500 h 451500"/>
              <a:gd name="connsiteX6" fmla="*/ 42000 w 42000"/>
              <a:gd name="connsiteY6" fmla="*/ 430500 h 451500"/>
              <a:gd name="connsiteX7" fmla="*/ 21000 w 42000"/>
              <a:gd name="connsiteY7" fmla="*/ 409500 h 451500"/>
              <a:gd name="connsiteX8" fmla="*/ 0 w 42000"/>
              <a:gd name="connsiteY8" fmla="*/ 430500 h 451500"/>
              <a:gd name="connsiteX9" fmla="*/ 21000 w 42000"/>
              <a:gd name="connsiteY9" fmla="*/ 451500 h 451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42000" h="451500">
                <a:moveTo>
                  <a:pt x="31500" y="0"/>
                </a:moveTo>
                <a:lnTo>
                  <a:pt x="10500" y="0"/>
                </a:lnTo>
                <a:lnTo>
                  <a:pt x="10500" y="346500"/>
                </a:lnTo>
                <a:lnTo>
                  <a:pt x="31500" y="346500"/>
                </a:lnTo>
                <a:lnTo>
                  <a:pt x="31500" y="0"/>
                </a:lnTo>
                <a:close/>
                <a:moveTo>
                  <a:pt x="21000" y="451500"/>
                </a:moveTo>
                <a:cubicBezTo>
                  <a:pt x="32598" y="451500"/>
                  <a:pt x="42000" y="442098"/>
                  <a:pt x="42000" y="430500"/>
                </a:cubicBezTo>
                <a:cubicBezTo>
                  <a:pt x="42000" y="418902"/>
                  <a:pt x="32598" y="409500"/>
                  <a:pt x="21000" y="409500"/>
                </a:cubicBezTo>
                <a:cubicBezTo>
                  <a:pt x="9402" y="409500"/>
                  <a:pt x="0" y="418902"/>
                  <a:pt x="0" y="430500"/>
                </a:cubicBezTo>
                <a:cubicBezTo>
                  <a:pt x="0" y="442098"/>
                  <a:pt x="9402" y="451500"/>
                  <a:pt x="21000" y="451500"/>
                </a:cubicBezTo>
                <a:close/>
              </a:path>
            </a:pathLst>
          </a:custGeom>
          <a:solidFill>
            <a:schemeClr val="tx1"/>
          </a:solidFill>
          <a:ln w="5159" cap="flat">
            <a:noFill/>
            <a:prstDash val="solid"/>
            <a:miter/>
          </a:ln>
        </p:spPr>
        <p:txBody>
          <a:bodyPr rtlCol="0" anchor="ctr"/>
          <a:lstStyle/>
          <a:p>
            <a:endParaRPr lang="de-DE">
              <a:solidFill>
                <a:schemeClr val="accent2"/>
              </a:solidFill>
            </a:endParaRPr>
          </a:p>
        </p:txBody>
      </p:sp>
      <p:sp>
        <p:nvSpPr>
          <p:cNvPr id="33" name="Rectangle: Rounded Corners 32">
            <a:extLst>
              <a:ext uri="{FF2B5EF4-FFF2-40B4-BE49-F238E27FC236}">
                <a16:creationId xmlns:a16="http://schemas.microsoft.com/office/drawing/2014/main" id="{1FE1EBD5-0845-CA75-4A49-BDFF199AA1A7}"/>
              </a:ext>
            </a:extLst>
          </p:cNvPr>
          <p:cNvSpPr/>
          <p:nvPr/>
        </p:nvSpPr>
        <p:spPr bwMode="gray">
          <a:xfrm>
            <a:off x="6439796" y="10604876"/>
            <a:ext cx="1963305" cy="517237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lnSpc>
                <a:spcPct val="110000"/>
              </a:lnSpc>
              <a:spcBef>
                <a:spcPts val="600"/>
              </a:spcBef>
            </a:pPr>
            <a:r>
              <a:rPr lang="de-DE" sz="2000" dirty="0">
                <a:solidFill>
                  <a:schemeClr val="tx1"/>
                </a:solidFill>
                <a:latin typeface="notosans"/>
              </a:rPr>
              <a:t>Brainstorming</a:t>
            </a:r>
            <a:endParaRPr lang="de-DE" sz="2000" b="1" dirty="0">
              <a:solidFill>
                <a:schemeClr val="tx1"/>
              </a:solidFill>
            </a:endParaRPr>
          </a:p>
        </p:txBody>
      </p:sp>
      <p:sp>
        <p:nvSpPr>
          <p:cNvPr id="34" name="Textplatzhalter 5">
            <a:extLst>
              <a:ext uri="{FF2B5EF4-FFF2-40B4-BE49-F238E27FC236}">
                <a16:creationId xmlns:a16="http://schemas.microsoft.com/office/drawing/2014/main" id="{03C74717-38EE-B761-5D4D-EC70AA360EE6}"/>
              </a:ext>
            </a:extLst>
          </p:cNvPr>
          <p:cNvSpPr txBox="1">
            <a:spLocks/>
          </p:cNvSpPr>
          <p:nvPr/>
        </p:nvSpPr>
        <p:spPr bwMode="gray">
          <a:xfrm>
            <a:off x="6439796" y="11428708"/>
            <a:ext cx="2787241" cy="1294420"/>
          </a:xfrm>
          <a:prstGeom prst="rect">
            <a:avLst/>
          </a:prstGeom>
        </p:spPr>
        <p:txBody>
          <a:bodyPr lIns="0" tIns="0" rIns="0" bIns="0"/>
          <a:lstStyle>
            <a:lvl1pPr marL="18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360000" indent="-179388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●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●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179388" indent="-179388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+mj-lt"/>
              <a:buAutoNum type="arabicPeriod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360363" indent="-180975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+mj-lt"/>
              <a:buAutoNum type="alphaLcPeriod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6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b="0" dirty="0">
                <a:solidFill>
                  <a:schemeClr val="accent2"/>
                </a:solidFill>
                <a:latin typeface="notosans"/>
              </a:rPr>
              <a:t>Our Brainstorming Started at the 1st minute of the </a:t>
            </a:r>
            <a:r>
              <a:rPr lang="en-US" b="0" dirty="0" err="1">
                <a:solidFill>
                  <a:schemeClr val="accent2"/>
                </a:solidFill>
                <a:latin typeface="notosans"/>
              </a:rPr>
              <a:t>C</a:t>
            </a:r>
            <a:r>
              <a:rPr lang="en-US" b="0" i="0" dirty="0" err="1">
                <a:solidFill>
                  <a:schemeClr val="accent2"/>
                </a:solidFill>
                <a:effectLst/>
                <a:latin typeface="notosans"/>
              </a:rPr>
              <a:t>ollabothon</a:t>
            </a:r>
            <a:endParaRPr kumimoji="0" lang="de-DE" sz="1800" b="1" i="0" u="none" strike="noStrike" kern="120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5" name="Datumsplatzhalter 2">
            <a:extLst>
              <a:ext uri="{FF2B5EF4-FFF2-40B4-BE49-F238E27FC236}">
                <a16:creationId xmlns:a16="http://schemas.microsoft.com/office/drawing/2014/main" id="{01E6A905-CBC1-FED6-8E35-4C9581C62500}"/>
              </a:ext>
            </a:extLst>
          </p:cNvPr>
          <p:cNvSpPr txBox="1">
            <a:spLocks/>
          </p:cNvSpPr>
          <p:nvPr/>
        </p:nvSpPr>
        <p:spPr bwMode="gray">
          <a:xfrm>
            <a:off x="5370755" y="4975348"/>
            <a:ext cx="1472380" cy="404812"/>
          </a:xfrm>
          <a:prstGeom prst="rect">
            <a:avLst/>
          </a:prstGeom>
        </p:spPr>
        <p:txBody>
          <a:bodyPr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0F683FC-9BE5-4833-B38D-19AD4779DC2B}" type="datetime1">
              <a:rPr lang="de-DE" smtClean="0">
                <a:solidFill>
                  <a:schemeClr val="bg1"/>
                </a:solidFill>
              </a:rPr>
              <a:pPr/>
              <a:t>22.10.2023</a:t>
            </a:fld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2" name="Textplatzhalter 5">
            <a:extLst>
              <a:ext uri="{FF2B5EF4-FFF2-40B4-BE49-F238E27FC236}">
                <a16:creationId xmlns:a16="http://schemas.microsoft.com/office/drawing/2014/main" id="{08C4097A-6855-1468-9B99-2D8F248A322C}"/>
              </a:ext>
            </a:extLst>
          </p:cNvPr>
          <p:cNvSpPr txBox="1">
            <a:spLocks/>
          </p:cNvSpPr>
          <p:nvPr/>
        </p:nvSpPr>
        <p:spPr bwMode="gray">
          <a:xfrm>
            <a:off x="2892846" y="10216284"/>
            <a:ext cx="2787241" cy="1294420"/>
          </a:xfrm>
          <a:prstGeom prst="rect">
            <a:avLst/>
          </a:prstGeom>
        </p:spPr>
        <p:txBody>
          <a:bodyPr lIns="0" tIns="0" rIns="0" bIns="0"/>
          <a:lstStyle>
            <a:lvl1pPr marL="18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360000" indent="-179388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●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●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179388" indent="-179388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+mj-lt"/>
              <a:buAutoNum type="arabicPeriod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360363" indent="-180975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+mj-lt"/>
              <a:buAutoNum type="alphaLcPeriod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6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b="0" dirty="0">
                <a:solidFill>
                  <a:schemeClr val="accent2"/>
                </a:solidFill>
                <a:latin typeface="notosans"/>
              </a:rPr>
              <a:t>3</a:t>
            </a:r>
            <a:r>
              <a:rPr lang="en-US" b="0" i="0" dirty="0">
                <a:solidFill>
                  <a:schemeClr val="accent2"/>
                </a:solidFill>
                <a:effectLst/>
                <a:latin typeface="notosans"/>
              </a:rPr>
              <a:t> interns that met at the </a:t>
            </a:r>
            <a:r>
              <a:rPr lang="en-US" b="0" dirty="0" err="1">
                <a:solidFill>
                  <a:schemeClr val="accent2"/>
                </a:solidFill>
                <a:latin typeface="notosans"/>
              </a:rPr>
              <a:t>C</a:t>
            </a:r>
            <a:r>
              <a:rPr lang="en-US" b="0" i="0" dirty="0" err="1">
                <a:solidFill>
                  <a:schemeClr val="accent2"/>
                </a:solidFill>
                <a:effectLst/>
                <a:latin typeface="notosans"/>
              </a:rPr>
              <a:t>ollabothon</a:t>
            </a:r>
            <a:r>
              <a:rPr lang="en-US" b="0" i="0" dirty="0">
                <a:solidFill>
                  <a:schemeClr val="accent2"/>
                </a:solidFill>
                <a:effectLst/>
                <a:latin typeface="notosans"/>
              </a:rPr>
              <a:t> </a:t>
            </a:r>
            <a:endParaRPr kumimoji="0" lang="de-DE" sz="1800" b="1" i="0" u="none" strike="noStrike" kern="120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4192174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7B991ED-6DD7-47DE-8D22-3B24670AFF3C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336551" y="0"/>
            <a:ext cx="11518898" cy="833804"/>
          </a:xfrm>
        </p:spPr>
        <p:txBody>
          <a:bodyPr/>
          <a:lstStyle/>
          <a:p>
            <a:pPr algn="ctr"/>
            <a:r>
              <a:rPr lang="de-DE" dirty="0">
                <a:solidFill>
                  <a:schemeClr val="accent2"/>
                </a:solidFill>
              </a:rPr>
              <a:t>The Team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34D1E33A-F5E5-4258-AC02-AE505436DC0F}"/>
              </a:ext>
            </a:extLst>
          </p:cNvPr>
          <p:cNvSpPr>
            <a:spLocks noGrp="1"/>
          </p:cNvSpPr>
          <p:nvPr>
            <p:ph type="dt" sz="half" idx="18"/>
          </p:nvPr>
        </p:nvSpPr>
        <p:spPr bwMode="gray"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0F683FC-9BE5-4833-B38D-19AD4779DC2B}" type="datetime1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.10.2023</a:t>
            </a:fld>
            <a:endParaRPr kumimoji="0" lang="de-DE" sz="800" b="0" i="0" u="none" strike="noStrike" kern="120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5D3800C-9E50-4756-8BCF-B1EECDC287D9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 bwMode="gray"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AEFDB47-5D1C-45E7-8BD0-EF74349B00F7}" type="slidenum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de-DE" sz="800" b="1" i="0" u="none" strike="noStrike" kern="120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Freihandform: Form 116">
            <a:extLst>
              <a:ext uri="{FF2B5EF4-FFF2-40B4-BE49-F238E27FC236}">
                <a16:creationId xmlns:a16="http://schemas.microsoft.com/office/drawing/2014/main" id="{DD816BA6-8B20-5962-BA8C-9EC678550CDB}"/>
              </a:ext>
            </a:extLst>
          </p:cNvPr>
          <p:cNvSpPr>
            <a:spLocks noChangeAspect="1"/>
          </p:cNvSpPr>
          <p:nvPr/>
        </p:nvSpPr>
        <p:spPr bwMode="gray">
          <a:xfrm>
            <a:off x="3238318" y="1602080"/>
            <a:ext cx="1343864" cy="1124277"/>
          </a:xfrm>
          <a:custGeom>
            <a:avLst/>
            <a:gdLst>
              <a:gd name="connsiteX0" fmla="*/ 300990 w 874395"/>
              <a:gd name="connsiteY0" fmla="*/ 416242 h 731520"/>
              <a:gd name="connsiteX1" fmla="*/ 437198 w 874395"/>
              <a:gd name="connsiteY1" fmla="*/ 485774 h 731520"/>
              <a:gd name="connsiteX2" fmla="*/ 574358 w 874395"/>
              <a:gd name="connsiteY2" fmla="*/ 416242 h 731520"/>
              <a:gd name="connsiteX3" fmla="*/ 609600 w 874395"/>
              <a:gd name="connsiteY3" fmla="*/ 421957 h 731520"/>
              <a:gd name="connsiteX4" fmla="*/ 772478 w 874395"/>
              <a:gd name="connsiteY4" fmla="*/ 601027 h 731520"/>
              <a:gd name="connsiteX5" fmla="*/ 781050 w 874395"/>
              <a:gd name="connsiteY5" fmla="*/ 731520 h 731520"/>
              <a:gd name="connsiteX6" fmla="*/ 742950 w 874395"/>
              <a:gd name="connsiteY6" fmla="*/ 731520 h 731520"/>
              <a:gd name="connsiteX7" fmla="*/ 735330 w 874395"/>
              <a:gd name="connsiteY7" fmla="*/ 605789 h 731520"/>
              <a:gd name="connsiteX8" fmla="*/ 602933 w 874395"/>
              <a:gd name="connsiteY8" fmla="*/ 459105 h 731520"/>
              <a:gd name="connsiteX9" fmla="*/ 581025 w 874395"/>
              <a:gd name="connsiteY9" fmla="*/ 456247 h 731520"/>
              <a:gd name="connsiteX10" fmla="*/ 438150 w 874395"/>
              <a:gd name="connsiteY10" fmla="*/ 528637 h 731520"/>
              <a:gd name="connsiteX11" fmla="*/ 295275 w 874395"/>
              <a:gd name="connsiteY11" fmla="*/ 456247 h 731520"/>
              <a:gd name="connsiteX12" fmla="*/ 273368 w 874395"/>
              <a:gd name="connsiteY12" fmla="*/ 459105 h 731520"/>
              <a:gd name="connsiteX13" fmla="*/ 140970 w 874395"/>
              <a:gd name="connsiteY13" fmla="*/ 605789 h 731520"/>
              <a:gd name="connsiteX14" fmla="*/ 133350 w 874395"/>
              <a:gd name="connsiteY14" fmla="*/ 731520 h 731520"/>
              <a:gd name="connsiteX15" fmla="*/ 95250 w 874395"/>
              <a:gd name="connsiteY15" fmla="*/ 731520 h 731520"/>
              <a:gd name="connsiteX16" fmla="*/ 103822 w 874395"/>
              <a:gd name="connsiteY16" fmla="*/ 601027 h 731520"/>
              <a:gd name="connsiteX17" fmla="*/ 265748 w 874395"/>
              <a:gd name="connsiteY17" fmla="*/ 421957 h 731520"/>
              <a:gd name="connsiteX18" fmla="*/ 266700 w 874395"/>
              <a:gd name="connsiteY18" fmla="*/ 421957 h 731520"/>
              <a:gd name="connsiteX19" fmla="*/ 119063 w 874395"/>
              <a:gd name="connsiteY19" fmla="*/ 390525 h 731520"/>
              <a:gd name="connsiteX20" fmla="*/ 236220 w 874395"/>
              <a:gd name="connsiteY20" fmla="*/ 390525 h 731520"/>
              <a:gd name="connsiteX21" fmla="*/ 162878 w 874395"/>
              <a:gd name="connsiteY21" fmla="*/ 428625 h 731520"/>
              <a:gd name="connsiteX22" fmla="*/ 120015 w 874395"/>
              <a:gd name="connsiteY22" fmla="*/ 428625 h 731520"/>
              <a:gd name="connsiteX23" fmla="*/ 107633 w 874395"/>
              <a:gd name="connsiteY23" fmla="*/ 431482 h 731520"/>
              <a:gd name="connsiteX24" fmla="*/ 41910 w 874395"/>
              <a:gd name="connsiteY24" fmla="*/ 503873 h 731520"/>
              <a:gd name="connsiteX25" fmla="*/ 38100 w 874395"/>
              <a:gd name="connsiteY25" fmla="*/ 563880 h 731520"/>
              <a:gd name="connsiteX26" fmla="*/ 0 w 874395"/>
              <a:gd name="connsiteY26" fmla="*/ 563880 h 731520"/>
              <a:gd name="connsiteX27" fmla="*/ 4763 w 874395"/>
              <a:gd name="connsiteY27" fmla="*/ 499110 h 731520"/>
              <a:gd name="connsiteX28" fmla="*/ 100013 w 874395"/>
              <a:gd name="connsiteY28" fmla="*/ 393382 h 731520"/>
              <a:gd name="connsiteX29" fmla="*/ 100965 w 874395"/>
              <a:gd name="connsiteY29" fmla="*/ 393382 h 731520"/>
              <a:gd name="connsiteX30" fmla="*/ 638175 w 874395"/>
              <a:gd name="connsiteY30" fmla="*/ 389572 h 731520"/>
              <a:gd name="connsiteX31" fmla="*/ 758190 w 874395"/>
              <a:gd name="connsiteY31" fmla="*/ 389572 h 731520"/>
              <a:gd name="connsiteX32" fmla="*/ 775335 w 874395"/>
              <a:gd name="connsiteY32" fmla="*/ 392429 h 731520"/>
              <a:gd name="connsiteX33" fmla="*/ 870585 w 874395"/>
              <a:gd name="connsiteY33" fmla="*/ 498157 h 731520"/>
              <a:gd name="connsiteX34" fmla="*/ 874395 w 874395"/>
              <a:gd name="connsiteY34" fmla="*/ 561974 h 731520"/>
              <a:gd name="connsiteX35" fmla="*/ 836295 w 874395"/>
              <a:gd name="connsiteY35" fmla="*/ 561974 h 731520"/>
              <a:gd name="connsiteX36" fmla="*/ 832485 w 874395"/>
              <a:gd name="connsiteY36" fmla="*/ 501967 h 731520"/>
              <a:gd name="connsiteX37" fmla="*/ 766763 w 874395"/>
              <a:gd name="connsiteY37" fmla="*/ 429577 h 731520"/>
              <a:gd name="connsiteX38" fmla="*/ 753427 w 874395"/>
              <a:gd name="connsiteY38" fmla="*/ 427672 h 731520"/>
              <a:gd name="connsiteX39" fmla="*/ 711517 w 874395"/>
              <a:gd name="connsiteY39" fmla="*/ 427672 h 731520"/>
              <a:gd name="connsiteX40" fmla="*/ 638175 w 874395"/>
              <a:gd name="connsiteY40" fmla="*/ 389572 h 731520"/>
              <a:gd name="connsiteX41" fmla="*/ 202882 w 874395"/>
              <a:gd name="connsiteY41" fmla="*/ 75247 h 731520"/>
              <a:gd name="connsiteX42" fmla="*/ 258128 w 874395"/>
              <a:gd name="connsiteY42" fmla="*/ 89534 h 731520"/>
              <a:gd name="connsiteX43" fmla="*/ 248603 w 874395"/>
              <a:gd name="connsiteY43" fmla="*/ 128587 h 731520"/>
              <a:gd name="connsiteX44" fmla="*/ 202882 w 874395"/>
              <a:gd name="connsiteY44" fmla="*/ 112395 h 731520"/>
              <a:gd name="connsiteX45" fmla="*/ 129540 w 874395"/>
              <a:gd name="connsiteY45" fmla="*/ 185737 h 731520"/>
              <a:gd name="connsiteX46" fmla="*/ 129540 w 874395"/>
              <a:gd name="connsiteY46" fmla="*/ 240982 h 731520"/>
              <a:gd name="connsiteX47" fmla="*/ 202882 w 874395"/>
              <a:gd name="connsiteY47" fmla="*/ 314325 h 731520"/>
              <a:gd name="connsiteX48" fmla="*/ 257175 w 874395"/>
              <a:gd name="connsiteY48" fmla="*/ 290512 h 731520"/>
              <a:gd name="connsiteX49" fmla="*/ 274320 w 874395"/>
              <a:gd name="connsiteY49" fmla="*/ 326707 h 731520"/>
              <a:gd name="connsiteX50" fmla="*/ 203835 w 874395"/>
              <a:gd name="connsiteY50" fmla="*/ 352425 h 731520"/>
              <a:gd name="connsiteX51" fmla="*/ 91440 w 874395"/>
              <a:gd name="connsiteY51" fmla="*/ 241935 h 731520"/>
              <a:gd name="connsiteX52" fmla="*/ 91440 w 874395"/>
              <a:gd name="connsiteY52" fmla="*/ 186690 h 731520"/>
              <a:gd name="connsiteX53" fmla="*/ 202882 w 874395"/>
              <a:gd name="connsiteY53" fmla="*/ 75247 h 731520"/>
              <a:gd name="connsiteX54" fmla="*/ 687704 w 874395"/>
              <a:gd name="connsiteY54" fmla="*/ 74295 h 731520"/>
              <a:gd name="connsiteX55" fmla="*/ 799147 w 874395"/>
              <a:gd name="connsiteY55" fmla="*/ 185738 h 731520"/>
              <a:gd name="connsiteX56" fmla="*/ 799147 w 874395"/>
              <a:gd name="connsiteY56" fmla="*/ 240982 h 731520"/>
              <a:gd name="connsiteX57" fmla="*/ 687704 w 874395"/>
              <a:gd name="connsiteY57" fmla="*/ 352425 h 731520"/>
              <a:gd name="connsiteX58" fmla="*/ 606742 w 874395"/>
              <a:gd name="connsiteY58" fmla="*/ 317182 h 731520"/>
              <a:gd name="connsiteX59" fmla="*/ 622935 w 874395"/>
              <a:gd name="connsiteY59" fmla="*/ 274320 h 731520"/>
              <a:gd name="connsiteX60" fmla="*/ 687704 w 874395"/>
              <a:gd name="connsiteY60" fmla="*/ 314325 h 731520"/>
              <a:gd name="connsiteX61" fmla="*/ 761047 w 874395"/>
              <a:gd name="connsiteY61" fmla="*/ 240982 h 731520"/>
              <a:gd name="connsiteX62" fmla="*/ 761047 w 874395"/>
              <a:gd name="connsiteY62" fmla="*/ 185738 h 731520"/>
              <a:gd name="connsiteX63" fmla="*/ 687704 w 874395"/>
              <a:gd name="connsiteY63" fmla="*/ 112395 h 731520"/>
              <a:gd name="connsiteX64" fmla="*/ 627697 w 874395"/>
              <a:gd name="connsiteY64" fmla="*/ 143828 h 731520"/>
              <a:gd name="connsiteX65" fmla="*/ 620077 w 874395"/>
              <a:gd name="connsiteY65" fmla="*/ 97155 h 731520"/>
              <a:gd name="connsiteX66" fmla="*/ 687704 w 874395"/>
              <a:gd name="connsiteY66" fmla="*/ 74295 h 731520"/>
              <a:gd name="connsiteX67" fmla="*/ 437197 w 874395"/>
              <a:gd name="connsiteY67" fmla="*/ 38100 h 731520"/>
              <a:gd name="connsiteX68" fmla="*/ 322897 w 874395"/>
              <a:gd name="connsiteY68" fmla="*/ 152400 h 731520"/>
              <a:gd name="connsiteX69" fmla="*/ 322897 w 874395"/>
              <a:gd name="connsiteY69" fmla="*/ 228600 h 731520"/>
              <a:gd name="connsiteX70" fmla="*/ 437197 w 874395"/>
              <a:gd name="connsiteY70" fmla="*/ 342900 h 731520"/>
              <a:gd name="connsiteX71" fmla="*/ 551497 w 874395"/>
              <a:gd name="connsiteY71" fmla="*/ 228600 h 731520"/>
              <a:gd name="connsiteX72" fmla="*/ 551497 w 874395"/>
              <a:gd name="connsiteY72" fmla="*/ 152400 h 731520"/>
              <a:gd name="connsiteX73" fmla="*/ 437197 w 874395"/>
              <a:gd name="connsiteY73" fmla="*/ 38100 h 731520"/>
              <a:gd name="connsiteX74" fmla="*/ 437197 w 874395"/>
              <a:gd name="connsiteY74" fmla="*/ 0 h 731520"/>
              <a:gd name="connsiteX75" fmla="*/ 589597 w 874395"/>
              <a:gd name="connsiteY75" fmla="*/ 152400 h 731520"/>
              <a:gd name="connsiteX76" fmla="*/ 589597 w 874395"/>
              <a:gd name="connsiteY76" fmla="*/ 228600 h 731520"/>
              <a:gd name="connsiteX77" fmla="*/ 437197 w 874395"/>
              <a:gd name="connsiteY77" fmla="*/ 381000 h 731520"/>
              <a:gd name="connsiteX78" fmla="*/ 284797 w 874395"/>
              <a:gd name="connsiteY78" fmla="*/ 228600 h 731520"/>
              <a:gd name="connsiteX79" fmla="*/ 284797 w 874395"/>
              <a:gd name="connsiteY79" fmla="*/ 152400 h 731520"/>
              <a:gd name="connsiteX80" fmla="*/ 437197 w 874395"/>
              <a:gd name="connsiteY80" fmla="*/ 0 h 7315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</a:cxnLst>
            <a:rect l="l" t="t" r="r" b="b"/>
            <a:pathLst>
              <a:path w="874395" h="731520">
                <a:moveTo>
                  <a:pt x="300990" y="416242"/>
                </a:moveTo>
                <a:lnTo>
                  <a:pt x="437198" y="485774"/>
                </a:lnTo>
                <a:lnTo>
                  <a:pt x="574358" y="416242"/>
                </a:lnTo>
                <a:lnTo>
                  <a:pt x="609600" y="421957"/>
                </a:lnTo>
                <a:cubicBezTo>
                  <a:pt x="696278" y="441007"/>
                  <a:pt x="761048" y="513397"/>
                  <a:pt x="772478" y="601027"/>
                </a:cubicBezTo>
                <a:cubicBezTo>
                  <a:pt x="778193" y="641985"/>
                  <a:pt x="780098" y="685800"/>
                  <a:pt x="781050" y="731520"/>
                </a:cubicBezTo>
                <a:lnTo>
                  <a:pt x="742950" y="731520"/>
                </a:lnTo>
                <a:cubicBezTo>
                  <a:pt x="742950" y="687704"/>
                  <a:pt x="740093" y="644842"/>
                  <a:pt x="735330" y="605789"/>
                </a:cubicBezTo>
                <a:cubicBezTo>
                  <a:pt x="725805" y="533399"/>
                  <a:pt x="673418" y="475297"/>
                  <a:pt x="602933" y="459105"/>
                </a:cubicBezTo>
                <a:lnTo>
                  <a:pt x="581025" y="456247"/>
                </a:lnTo>
                <a:lnTo>
                  <a:pt x="438150" y="528637"/>
                </a:lnTo>
                <a:lnTo>
                  <a:pt x="295275" y="456247"/>
                </a:lnTo>
                <a:lnTo>
                  <a:pt x="273368" y="459105"/>
                </a:lnTo>
                <a:cubicBezTo>
                  <a:pt x="202882" y="475297"/>
                  <a:pt x="149543" y="534352"/>
                  <a:pt x="140970" y="605789"/>
                </a:cubicBezTo>
                <a:cubicBezTo>
                  <a:pt x="136208" y="644842"/>
                  <a:pt x="134303" y="686752"/>
                  <a:pt x="133350" y="731520"/>
                </a:cubicBezTo>
                <a:lnTo>
                  <a:pt x="95250" y="731520"/>
                </a:lnTo>
                <a:cubicBezTo>
                  <a:pt x="96203" y="685800"/>
                  <a:pt x="99060" y="641985"/>
                  <a:pt x="103822" y="601027"/>
                </a:cubicBezTo>
                <a:cubicBezTo>
                  <a:pt x="114300" y="513397"/>
                  <a:pt x="180023" y="441007"/>
                  <a:pt x="265748" y="421957"/>
                </a:cubicBezTo>
                <a:lnTo>
                  <a:pt x="266700" y="421957"/>
                </a:lnTo>
                <a:close/>
                <a:moveTo>
                  <a:pt x="119063" y="390525"/>
                </a:moveTo>
                <a:lnTo>
                  <a:pt x="236220" y="390525"/>
                </a:lnTo>
                <a:cubicBezTo>
                  <a:pt x="209550" y="399098"/>
                  <a:pt x="184785" y="412432"/>
                  <a:pt x="162878" y="428625"/>
                </a:cubicBezTo>
                <a:lnTo>
                  <a:pt x="120015" y="428625"/>
                </a:lnTo>
                <a:lnTo>
                  <a:pt x="107633" y="431482"/>
                </a:lnTo>
                <a:cubicBezTo>
                  <a:pt x="72390" y="439102"/>
                  <a:pt x="46673" y="468630"/>
                  <a:pt x="41910" y="503873"/>
                </a:cubicBezTo>
                <a:cubicBezTo>
                  <a:pt x="40005" y="522923"/>
                  <a:pt x="39053" y="542925"/>
                  <a:pt x="38100" y="563880"/>
                </a:cubicBezTo>
                <a:lnTo>
                  <a:pt x="0" y="563880"/>
                </a:lnTo>
                <a:cubicBezTo>
                  <a:pt x="953" y="541020"/>
                  <a:pt x="1905" y="519113"/>
                  <a:pt x="4763" y="499110"/>
                </a:cubicBezTo>
                <a:cubicBezTo>
                  <a:pt x="10478" y="446723"/>
                  <a:pt x="49530" y="404813"/>
                  <a:pt x="100013" y="393382"/>
                </a:cubicBezTo>
                <a:lnTo>
                  <a:pt x="100965" y="393382"/>
                </a:lnTo>
                <a:close/>
                <a:moveTo>
                  <a:pt x="638175" y="389572"/>
                </a:moveTo>
                <a:lnTo>
                  <a:pt x="758190" y="389572"/>
                </a:lnTo>
                <a:lnTo>
                  <a:pt x="775335" y="392429"/>
                </a:lnTo>
                <a:cubicBezTo>
                  <a:pt x="825817" y="403860"/>
                  <a:pt x="863917" y="446722"/>
                  <a:pt x="870585" y="498157"/>
                </a:cubicBezTo>
                <a:cubicBezTo>
                  <a:pt x="873442" y="519112"/>
                  <a:pt x="874395" y="540067"/>
                  <a:pt x="874395" y="561974"/>
                </a:cubicBezTo>
                <a:lnTo>
                  <a:pt x="836295" y="561974"/>
                </a:lnTo>
                <a:cubicBezTo>
                  <a:pt x="836295" y="541019"/>
                  <a:pt x="834390" y="521017"/>
                  <a:pt x="832485" y="501967"/>
                </a:cubicBezTo>
                <a:cubicBezTo>
                  <a:pt x="827723" y="466724"/>
                  <a:pt x="802005" y="437197"/>
                  <a:pt x="766763" y="429577"/>
                </a:cubicBezTo>
                <a:lnTo>
                  <a:pt x="753427" y="427672"/>
                </a:lnTo>
                <a:lnTo>
                  <a:pt x="711517" y="427672"/>
                </a:lnTo>
                <a:cubicBezTo>
                  <a:pt x="689610" y="411479"/>
                  <a:pt x="664845" y="398144"/>
                  <a:pt x="638175" y="389572"/>
                </a:cubicBezTo>
                <a:close/>
                <a:moveTo>
                  <a:pt x="202882" y="75247"/>
                </a:moveTo>
                <a:cubicBezTo>
                  <a:pt x="222885" y="75247"/>
                  <a:pt x="241935" y="80009"/>
                  <a:pt x="258128" y="89534"/>
                </a:cubicBezTo>
                <a:cubicBezTo>
                  <a:pt x="253365" y="101917"/>
                  <a:pt x="250507" y="115252"/>
                  <a:pt x="248603" y="128587"/>
                </a:cubicBezTo>
                <a:cubicBezTo>
                  <a:pt x="236220" y="118109"/>
                  <a:pt x="220028" y="112395"/>
                  <a:pt x="202882" y="112395"/>
                </a:cubicBezTo>
                <a:cubicBezTo>
                  <a:pt x="161925" y="112395"/>
                  <a:pt x="129540" y="145732"/>
                  <a:pt x="129540" y="185737"/>
                </a:cubicBezTo>
                <a:lnTo>
                  <a:pt x="129540" y="240982"/>
                </a:lnTo>
                <a:cubicBezTo>
                  <a:pt x="129540" y="281940"/>
                  <a:pt x="162878" y="314325"/>
                  <a:pt x="202882" y="314325"/>
                </a:cubicBezTo>
                <a:cubicBezTo>
                  <a:pt x="224790" y="314325"/>
                  <a:pt x="243840" y="305752"/>
                  <a:pt x="257175" y="290512"/>
                </a:cubicBezTo>
                <a:cubicBezTo>
                  <a:pt x="261938" y="302894"/>
                  <a:pt x="267653" y="315277"/>
                  <a:pt x="274320" y="326707"/>
                </a:cubicBezTo>
                <a:cubicBezTo>
                  <a:pt x="255270" y="342900"/>
                  <a:pt x="230505" y="352425"/>
                  <a:pt x="203835" y="352425"/>
                </a:cubicBezTo>
                <a:cubicBezTo>
                  <a:pt x="141922" y="352425"/>
                  <a:pt x="92392" y="302894"/>
                  <a:pt x="91440" y="241935"/>
                </a:cubicBezTo>
                <a:lnTo>
                  <a:pt x="91440" y="186690"/>
                </a:lnTo>
                <a:cubicBezTo>
                  <a:pt x="91440" y="124777"/>
                  <a:pt x="141922" y="75247"/>
                  <a:pt x="202882" y="75247"/>
                </a:cubicBezTo>
                <a:close/>
                <a:moveTo>
                  <a:pt x="687704" y="74295"/>
                </a:moveTo>
                <a:cubicBezTo>
                  <a:pt x="749617" y="74295"/>
                  <a:pt x="799147" y="124778"/>
                  <a:pt x="799147" y="185738"/>
                </a:cubicBezTo>
                <a:lnTo>
                  <a:pt x="799147" y="240982"/>
                </a:lnTo>
                <a:cubicBezTo>
                  <a:pt x="799147" y="302895"/>
                  <a:pt x="748664" y="352425"/>
                  <a:pt x="687704" y="352425"/>
                </a:cubicBezTo>
                <a:cubicBezTo>
                  <a:pt x="656272" y="352425"/>
                  <a:pt x="626745" y="339090"/>
                  <a:pt x="606742" y="317182"/>
                </a:cubicBezTo>
                <a:cubicBezTo>
                  <a:pt x="614362" y="303848"/>
                  <a:pt x="619124" y="289560"/>
                  <a:pt x="622935" y="274320"/>
                </a:cubicBezTo>
                <a:cubicBezTo>
                  <a:pt x="634364" y="298132"/>
                  <a:pt x="659129" y="314325"/>
                  <a:pt x="687704" y="314325"/>
                </a:cubicBezTo>
                <a:cubicBezTo>
                  <a:pt x="727710" y="314325"/>
                  <a:pt x="760095" y="280988"/>
                  <a:pt x="761047" y="240982"/>
                </a:cubicBezTo>
                <a:lnTo>
                  <a:pt x="761047" y="185738"/>
                </a:lnTo>
                <a:cubicBezTo>
                  <a:pt x="761047" y="144780"/>
                  <a:pt x="727710" y="112395"/>
                  <a:pt x="687704" y="112395"/>
                </a:cubicBezTo>
                <a:cubicBezTo>
                  <a:pt x="662939" y="112395"/>
                  <a:pt x="641032" y="124778"/>
                  <a:pt x="627697" y="143828"/>
                </a:cubicBezTo>
                <a:cubicBezTo>
                  <a:pt x="626745" y="127635"/>
                  <a:pt x="624839" y="112395"/>
                  <a:pt x="620077" y="97155"/>
                </a:cubicBezTo>
                <a:cubicBezTo>
                  <a:pt x="639127" y="82867"/>
                  <a:pt x="661987" y="74295"/>
                  <a:pt x="687704" y="74295"/>
                </a:cubicBezTo>
                <a:close/>
                <a:moveTo>
                  <a:pt x="437197" y="38100"/>
                </a:moveTo>
                <a:cubicBezTo>
                  <a:pt x="374332" y="38100"/>
                  <a:pt x="322897" y="89535"/>
                  <a:pt x="322897" y="152400"/>
                </a:cubicBezTo>
                <a:lnTo>
                  <a:pt x="322897" y="228600"/>
                </a:lnTo>
                <a:cubicBezTo>
                  <a:pt x="322897" y="291465"/>
                  <a:pt x="374332" y="342900"/>
                  <a:pt x="437197" y="342900"/>
                </a:cubicBezTo>
                <a:cubicBezTo>
                  <a:pt x="500062" y="342900"/>
                  <a:pt x="551497" y="291465"/>
                  <a:pt x="551497" y="228600"/>
                </a:cubicBezTo>
                <a:lnTo>
                  <a:pt x="551497" y="152400"/>
                </a:lnTo>
                <a:cubicBezTo>
                  <a:pt x="551497" y="89535"/>
                  <a:pt x="500062" y="38100"/>
                  <a:pt x="437197" y="38100"/>
                </a:cubicBezTo>
                <a:close/>
                <a:moveTo>
                  <a:pt x="437197" y="0"/>
                </a:moveTo>
                <a:cubicBezTo>
                  <a:pt x="521017" y="0"/>
                  <a:pt x="589597" y="68580"/>
                  <a:pt x="589597" y="152400"/>
                </a:cubicBezTo>
                <a:lnTo>
                  <a:pt x="589597" y="228600"/>
                </a:lnTo>
                <a:cubicBezTo>
                  <a:pt x="589597" y="312420"/>
                  <a:pt x="521017" y="381000"/>
                  <a:pt x="437197" y="381000"/>
                </a:cubicBezTo>
                <a:cubicBezTo>
                  <a:pt x="353377" y="381000"/>
                  <a:pt x="284797" y="313373"/>
                  <a:pt x="284797" y="228600"/>
                </a:cubicBezTo>
                <a:lnTo>
                  <a:pt x="284797" y="152400"/>
                </a:lnTo>
                <a:cubicBezTo>
                  <a:pt x="284797" y="68580"/>
                  <a:pt x="353377" y="0"/>
                  <a:pt x="437197" y="0"/>
                </a:cubicBezTo>
                <a:close/>
              </a:path>
            </a:pathLst>
          </a:custGeom>
          <a:solidFill>
            <a:schemeClr val="accent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de-DE">
              <a:solidFill>
                <a:schemeClr val="accent2"/>
              </a:solidFill>
            </a:endParaRPr>
          </a:p>
        </p:txBody>
      </p: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97C0CA2E-BCD5-FE27-AB41-25E79C0225C6}"/>
              </a:ext>
            </a:extLst>
          </p:cNvPr>
          <p:cNvSpPr/>
          <p:nvPr/>
        </p:nvSpPr>
        <p:spPr bwMode="gray">
          <a:xfrm>
            <a:off x="3238318" y="2855677"/>
            <a:ext cx="1963305" cy="517237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lnSpc>
                <a:spcPct val="110000"/>
              </a:lnSpc>
              <a:spcBef>
                <a:spcPts val="600"/>
              </a:spcBef>
            </a:pPr>
            <a:r>
              <a:rPr lang="de-DE" sz="2000" b="0" i="0" dirty="0" err="1">
                <a:solidFill>
                  <a:schemeClr val="tx1"/>
                </a:solidFill>
                <a:effectLst/>
                <a:latin typeface="notosans"/>
              </a:rPr>
              <a:t>composition</a:t>
            </a:r>
            <a:r>
              <a:rPr lang="de-DE" sz="2000" b="0" i="0" dirty="0">
                <a:solidFill>
                  <a:schemeClr val="tx1"/>
                </a:solidFill>
                <a:effectLst/>
                <a:latin typeface="notosans"/>
              </a:rPr>
              <a:t> </a:t>
            </a:r>
            <a:endParaRPr lang="de-DE" sz="2000" b="1" dirty="0">
              <a:solidFill>
                <a:schemeClr val="tx1"/>
              </a:solidFill>
            </a:endParaRPr>
          </a:p>
        </p:txBody>
      </p:sp>
      <p:sp>
        <p:nvSpPr>
          <p:cNvPr id="20" name="Freihandform: Form 124">
            <a:extLst>
              <a:ext uri="{FF2B5EF4-FFF2-40B4-BE49-F238E27FC236}">
                <a16:creationId xmlns:a16="http://schemas.microsoft.com/office/drawing/2014/main" id="{35FA1DA2-728D-B688-820A-CF5BC600097D}"/>
              </a:ext>
            </a:extLst>
          </p:cNvPr>
          <p:cNvSpPr>
            <a:spLocks noChangeAspect="1"/>
          </p:cNvSpPr>
          <p:nvPr/>
        </p:nvSpPr>
        <p:spPr bwMode="gray">
          <a:xfrm>
            <a:off x="6701128" y="1602080"/>
            <a:ext cx="1084038" cy="1124277"/>
          </a:xfrm>
          <a:custGeom>
            <a:avLst/>
            <a:gdLst>
              <a:gd name="connsiteX0" fmla="*/ 205740 w 686753"/>
              <a:gd name="connsiteY0" fmla="*/ 416242 h 731520"/>
              <a:gd name="connsiteX1" fmla="*/ 341948 w 686753"/>
              <a:gd name="connsiteY1" fmla="*/ 485774 h 731520"/>
              <a:gd name="connsiteX2" fmla="*/ 479108 w 686753"/>
              <a:gd name="connsiteY2" fmla="*/ 416242 h 731520"/>
              <a:gd name="connsiteX3" fmla="*/ 514350 w 686753"/>
              <a:gd name="connsiteY3" fmla="*/ 421957 h 731520"/>
              <a:gd name="connsiteX4" fmla="*/ 676275 w 686753"/>
              <a:gd name="connsiteY4" fmla="*/ 601027 h 731520"/>
              <a:gd name="connsiteX5" fmla="*/ 686753 w 686753"/>
              <a:gd name="connsiteY5" fmla="*/ 731520 h 731520"/>
              <a:gd name="connsiteX6" fmla="*/ 648653 w 686753"/>
              <a:gd name="connsiteY6" fmla="*/ 731520 h 731520"/>
              <a:gd name="connsiteX7" fmla="*/ 641033 w 686753"/>
              <a:gd name="connsiteY7" fmla="*/ 605789 h 731520"/>
              <a:gd name="connsiteX8" fmla="*/ 508635 w 686753"/>
              <a:gd name="connsiteY8" fmla="*/ 459105 h 731520"/>
              <a:gd name="connsiteX9" fmla="*/ 486728 w 686753"/>
              <a:gd name="connsiteY9" fmla="*/ 456247 h 731520"/>
              <a:gd name="connsiteX10" fmla="*/ 343853 w 686753"/>
              <a:gd name="connsiteY10" fmla="*/ 528637 h 731520"/>
              <a:gd name="connsiteX11" fmla="*/ 200978 w 686753"/>
              <a:gd name="connsiteY11" fmla="*/ 456247 h 731520"/>
              <a:gd name="connsiteX12" fmla="*/ 179070 w 686753"/>
              <a:gd name="connsiteY12" fmla="*/ 459105 h 731520"/>
              <a:gd name="connsiteX13" fmla="*/ 46673 w 686753"/>
              <a:gd name="connsiteY13" fmla="*/ 605789 h 731520"/>
              <a:gd name="connsiteX14" fmla="*/ 38100 w 686753"/>
              <a:gd name="connsiteY14" fmla="*/ 731520 h 731520"/>
              <a:gd name="connsiteX15" fmla="*/ 0 w 686753"/>
              <a:gd name="connsiteY15" fmla="*/ 731520 h 731520"/>
              <a:gd name="connsiteX16" fmla="*/ 8573 w 686753"/>
              <a:gd name="connsiteY16" fmla="*/ 601027 h 731520"/>
              <a:gd name="connsiteX17" fmla="*/ 170498 w 686753"/>
              <a:gd name="connsiteY17" fmla="*/ 421957 h 731520"/>
              <a:gd name="connsiteX18" fmla="*/ 171450 w 686753"/>
              <a:gd name="connsiteY18" fmla="*/ 421957 h 731520"/>
              <a:gd name="connsiteX19" fmla="*/ 341947 w 686753"/>
              <a:gd name="connsiteY19" fmla="*/ 38100 h 731520"/>
              <a:gd name="connsiteX20" fmla="*/ 227647 w 686753"/>
              <a:gd name="connsiteY20" fmla="*/ 152400 h 731520"/>
              <a:gd name="connsiteX21" fmla="*/ 227647 w 686753"/>
              <a:gd name="connsiteY21" fmla="*/ 228600 h 731520"/>
              <a:gd name="connsiteX22" fmla="*/ 341947 w 686753"/>
              <a:gd name="connsiteY22" fmla="*/ 342900 h 731520"/>
              <a:gd name="connsiteX23" fmla="*/ 456247 w 686753"/>
              <a:gd name="connsiteY23" fmla="*/ 228600 h 731520"/>
              <a:gd name="connsiteX24" fmla="*/ 456247 w 686753"/>
              <a:gd name="connsiteY24" fmla="*/ 152400 h 731520"/>
              <a:gd name="connsiteX25" fmla="*/ 341947 w 686753"/>
              <a:gd name="connsiteY25" fmla="*/ 38100 h 731520"/>
              <a:gd name="connsiteX26" fmla="*/ 341947 w 686753"/>
              <a:gd name="connsiteY26" fmla="*/ 0 h 731520"/>
              <a:gd name="connsiteX27" fmla="*/ 494347 w 686753"/>
              <a:gd name="connsiteY27" fmla="*/ 152400 h 731520"/>
              <a:gd name="connsiteX28" fmla="*/ 494347 w 686753"/>
              <a:gd name="connsiteY28" fmla="*/ 228600 h 731520"/>
              <a:gd name="connsiteX29" fmla="*/ 341947 w 686753"/>
              <a:gd name="connsiteY29" fmla="*/ 381000 h 731520"/>
              <a:gd name="connsiteX30" fmla="*/ 189547 w 686753"/>
              <a:gd name="connsiteY30" fmla="*/ 228600 h 731520"/>
              <a:gd name="connsiteX31" fmla="*/ 189547 w 686753"/>
              <a:gd name="connsiteY31" fmla="*/ 152400 h 731520"/>
              <a:gd name="connsiteX32" fmla="*/ 341947 w 686753"/>
              <a:gd name="connsiteY32" fmla="*/ 0 h 7315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</a:cxnLst>
            <a:rect l="l" t="t" r="r" b="b"/>
            <a:pathLst>
              <a:path w="686753" h="731520">
                <a:moveTo>
                  <a:pt x="205740" y="416242"/>
                </a:moveTo>
                <a:lnTo>
                  <a:pt x="341948" y="485774"/>
                </a:lnTo>
                <a:lnTo>
                  <a:pt x="479108" y="416242"/>
                </a:lnTo>
                <a:lnTo>
                  <a:pt x="514350" y="421957"/>
                </a:lnTo>
                <a:cubicBezTo>
                  <a:pt x="600075" y="441007"/>
                  <a:pt x="665798" y="513397"/>
                  <a:pt x="676275" y="601027"/>
                </a:cubicBezTo>
                <a:cubicBezTo>
                  <a:pt x="681038" y="641985"/>
                  <a:pt x="683895" y="685800"/>
                  <a:pt x="686753" y="731520"/>
                </a:cubicBezTo>
                <a:lnTo>
                  <a:pt x="648653" y="731520"/>
                </a:lnTo>
                <a:cubicBezTo>
                  <a:pt x="648653" y="687704"/>
                  <a:pt x="645795" y="644842"/>
                  <a:pt x="641033" y="605789"/>
                </a:cubicBezTo>
                <a:cubicBezTo>
                  <a:pt x="631508" y="533399"/>
                  <a:pt x="579120" y="475297"/>
                  <a:pt x="508635" y="459105"/>
                </a:cubicBezTo>
                <a:lnTo>
                  <a:pt x="486728" y="456247"/>
                </a:lnTo>
                <a:lnTo>
                  <a:pt x="343853" y="528637"/>
                </a:lnTo>
                <a:lnTo>
                  <a:pt x="200978" y="456247"/>
                </a:lnTo>
                <a:lnTo>
                  <a:pt x="179070" y="459105"/>
                </a:lnTo>
                <a:cubicBezTo>
                  <a:pt x="108585" y="475297"/>
                  <a:pt x="55245" y="534352"/>
                  <a:pt x="46673" y="605789"/>
                </a:cubicBezTo>
                <a:cubicBezTo>
                  <a:pt x="40958" y="644842"/>
                  <a:pt x="39053" y="687704"/>
                  <a:pt x="38100" y="731520"/>
                </a:cubicBezTo>
                <a:lnTo>
                  <a:pt x="0" y="731520"/>
                </a:lnTo>
                <a:cubicBezTo>
                  <a:pt x="953" y="685800"/>
                  <a:pt x="3810" y="641985"/>
                  <a:pt x="8573" y="601027"/>
                </a:cubicBezTo>
                <a:cubicBezTo>
                  <a:pt x="19050" y="513397"/>
                  <a:pt x="83820" y="441007"/>
                  <a:pt x="170498" y="421957"/>
                </a:cubicBezTo>
                <a:lnTo>
                  <a:pt x="171450" y="421957"/>
                </a:lnTo>
                <a:close/>
                <a:moveTo>
                  <a:pt x="341947" y="38100"/>
                </a:moveTo>
                <a:cubicBezTo>
                  <a:pt x="279082" y="38100"/>
                  <a:pt x="227647" y="89535"/>
                  <a:pt x="227647" y="152400"/>
                </a:cubicBezTo>
                <a:lnTo>
                  <a:pt x="227647" y="228600"/>
                </a:lnTo>
                <a:cubicBezTo>
                  <a:pt x="227647" y="291465"/>
                  <a:pt x="279082" y="342900"/>
                  <a:pt x="341947" y="342900"/>
                </a:cubicBezTo>
                <a:cubicBezTo>
                  <a:pt x="404812" y="342900"/>
                  <a:pt x="456247" y="291465"/>
                  <a:pt x="456247" y="228600"/>
                </a:cubicBezTo>
                <a:lnTo>
                  <a:pt x="456247" y="152400"/>
                </a:lnTo>
                <a:cubicBezTo>
                  <a:pt x="456247" y="89535"/>
                  <a:pt x="404812" y="38100"/>
                  <a:pt x="341947" y="38100"/>
                </a:cubicBezTo>
                <a:close/>
                <a:moveTo>
                  <a:pt x="341947" y="0"/>
                </a:moveTo>
                <a:cubicBezTo>
                  <a:pt x="425767" y="0"/>
                  <a:pt x="494347" y="68580"/>
                  <a:pt x="494347" y="152400"/>
                </a:cubicBezTo>
                <a:lnTo>
                  <a:pt x="494347" y="228600"/>
                </a:lnTo>
                <a:cubicBezTo>
                  <a:pt x="494347" y="312420"/>
                  <a:pt x="425767" y="381000"/>
                  <a:pt x="341947" y="381000"/>
                </a:cubicBezTo>
                <a:cubicBezTo>
                  <a:pt x="258127" y="381000"/>
                  <a:pt x="189547" y="313373"/>
                  <a:pt x="189547" y="228600"/>
                </a:cubicBezTo>
                <a:lnTo>
                  <a:pt x="189547" y="152400"/>
                </a:lnTo>
                <a:cubicBezTo>
                  <a:pt x="189547" y="68580"/>
                  <a:pt x="258127" y="0"/>
                  <a:pt x="341947" y="0"/>
                </a:cubicBezTo>
                <a:close/>
              </a:path>
            </a:pathLst>
          </a:custGeom>
          <a:solidFill>
            <a:schemeClr val="accent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de-DE">
              <a:solidFill>
                <a:schemeClr val="accent2"/>
              </a:solidFill>
            </a:endParaRPr>
          </a:p>
        </p:txBody>
      </p:sp>
      <p:sp>
        <p:nvSpPr>
          <p:cNvPr id="28" name="Grafik 34">
            <a:extLst>
              <a:ext uri="{FF2B5EF4-FFF2-40B4-BE49-F238E27FC236}">
                <a16:creationId xmlns:a16="http://schemas.microsoft.com/office/drawing/2014/main" id="{55133893-1E30-2921-E8C8-11EFA06BA006}"/>
              </a:ext>
            </a:extLst>
          </p:cNvPr>
          <p:cNvSpPr>
            <a:spLocks noChangeAspect="1"/>
          </p:cNvSpPr>
          <p:nvPr/>
        </p:nvSpPr>
        <p:spPr bwMode="gray">
          <a:xfrm>
            <a:off x="7463646" y="1411047"/>
            <a:ext cx="273000" cy="451500"/>
          </a:xfrm>
          <a:custGeom>
            <a:avLst/>
            <a:gdLst>
              <a:gd name="connsiteX0" fmla="*/ 0 w 273000"/>
              <a:gd name="connsiteY0" fmla="*/ 115500 h 451500"/>
              <a:gd name="connsiteX1" fmla="*/ 136500 w 273000"/>
              <a:gd name="connsiteY1" fmla="*/ 0 h 451500"/>
              <a:gd name="connsiteX2" fmla="*/ 273000 w 273000"/>
              <a:gd name="connsiteY2" fmla="*/ 115500 h 451500"/>
              <a:gd name="connsiteX3" fmla="*/ 182175 w 273000"/>
              <a:gd name="connsiteY3" fmla="*/ 251318 h 451500"/>
              <a:gd name="connsiteX4" fmla="*/ 147000 w 273000"/>
              <a:gd name="connsiteY4" fmla="*/ 264548 h 451500"/>
              <a:gd name="connsiteX5" fmla="*/ 147000 w 273000"/>
              <a:gd name="connsiteY5" fmla="*/ 346500 h 451500"/>
              <a:gd name="connsiteX6" fmla="*/ 126000 w 273000"/>
              <a:gd name="connsiteY6" fmla="*/ 346500 h 451500"/>
              <a:gd name="connsiteX7" fmla="*/ 126000 w 273000"/>
              <a:gd name="connsiteY7" fmla="*/ 249953 h 451500"/>
              <a:gd name="connsiteX8" fmla="*/ 174825 w 273000"/>
              <a:gd name="connsiteY8" fmla="*/ 231683 h 451500"/>
              <a:gd name="connsiteX9" fmla="*/ 252000 w 273000"/>
              <a:gd name="connsiteY9" fmla="*/ 115500 h 451500"/>
              <a:gd name="connsiteX10" fmla="*/ 136500 w 273000"/>
              <a:gd name="connsiteY10" fmla="*/ 21000 h 451500"/>
              <a:gd name="connsiteX11" fmla="*/ 21000 w 273000"/>
              <a:gd name="connsiteY11" fmla="*/ 115500 h 451500"/>
              <a:gd name="connsiteX12" fmla="*/ 21000 w 273000"/>
              <a:gd name="connsiteY12" fmla="*/ 126000 h 451500"/>
              <a:gd name="connsiteX13" fmla="*/ 0 w 273000"/>
              <a:gd name="connsiteY13" fmla="*/ 126000 h 451500"/>
              <a:gd name="connsiteX14" fmla="*/ 0 w 273000"/>
              <a:gd name="connsiteY14" fmla="*/ 115500 h 451500"/>
              <a:gd name="connsiteX15" fmla="*/ 136500 w 273000"/>
              <a:gd name="connsiteY15" fmla="*/ 451500 h 451500"/>
              <a:gd name="connsiteX16" fmla="*/ 157500 w 273000"/>
              <a:gd name="connsiteY16" fmla="*/ 430500 h 451500"/>
              <a:gd name="connsiteX17" fmla="*/ 136500 w 273000"/>
              <a:gd name="connsiteY17" fmla="*/ 409500 h 451500"/>
              <a:gd name="connsiteX18" fmla="*/ 115500 w 273000"/>
              <a:gd name="connsiteY18" fmla="*/ 430500 h 451500"/>
              <a:gd name="connsiteX19" fmla="*/ 136500 w 273000"/>
              <a:gd name="connsiteY19" fmla="*/ 451500 h 451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273000" h="451500">
                <a:moveTo>
                  <a:pt x="0" y="115500"/>
                </a:moveTo>
                <a:cubicBezTo>
                  <a:pt x="0" y="0"/>
                  <a:pt x="75705" y="0"/>
                  <a:pt x="136500" y="0"/>
                </a:cubicBezTo>
                <a:cubicBezTo>
                  <a:pt x="218453" y="0"/>
                  <a:pt x="273000" y="19635"/>
                  <a:pt x="273000" y="115500"/>
                </a:cubicBezTo>
                <a:cubicBezTo>
                  <a:pt x="273000" y="153563"/>
                  <a:pt x="273000" y="217298"/>
                  <a:pt x="182175" y="251318"/>
                </a:cubicBezTo>
                <a:lnTo>
                  <a:pt x="147000" y="264548"/>
                </a:lnTo>
                <a:lnTo>
                  <a:pt x="147000" y="346500"/>
                </a:lnTo>
                <a:lnTo>
                  <a:pt x="126000" y="346500"/>
                </a:lnTo>
                <a:lnTo>
                  <a:pt x="126000" y="249953"/>
                </a:lnTo>
                <a:lnTo>
                  <a:pt x="174825" y="231683"/>
                </a:lnTo>
                <a:cubicBezTo>
                  <a:pt x="246120" y="204750"/>
                  <a:pt x="252000" y="161490"/>
                  <a:pt x="252000" y="115500"/>
                </a:cubicBezTo>
                <a:cubicBezTo>
                  <a:pt x="252000" y="43943"/>
                  <a:pt x="223913" y="21000"/>
                  <a:pt x="136500" y="21000"/>
                </a:cubicBezTo>
                <a:cubicBezTo>
                  <a:pt x="71977" y="21000"/>
                  <a:pt x="21000" y="21000"/>
                  <a:pt x="21000" y="115500"/>
                </a:cubicBezTo>
                <a:lnTo>
                  <a:pt x="21000" y="126000"/>
                </a:lnTo>
                <a:lnTo>
                  <a:pt x="0" y="126000"/>
                </a:lnTo>
                <a:lnTo>
                  <a:pt x="0" y="115500"/>
                </a:lnTo>
                <a:close/>
                <a:moveTo>
                  <a:pt x="136500" y="451500"/>
                </a:moveTo>
                <a:cubicBezTo>
                  <a:pt x="148098" y="451500"/>
                  <a:pt x="157500" y="442098"/>
                  <a:pt x="157500" y="430500"/>
                </a:cubicBezTo>
                <a:cubicBezTo>
                  <a:pt x="157500" y="418902"/>
                  <a:pt x="148098" y="409500"/>
                  <a:pt x="136500" y="409500"/>
                </a:cubicBezTo>
                <a:cubicBezTo>
                  <a:pt x="124902" y="409500"/>
                  <a:pt x="115500" y="418902"/>
                  <a:pt x="115500" y="430500"/>
                </a:cubicBezTo>
                <a:cubicBezTo>
                  <a:pt x="115500" y="442098"/>
                  <a:pt x="124902" y="451500"/>
                  <a:pt x="136500" y="451500"/>
                </a:cubicBezTo>
                <a:close/>
              </a:path>
            </a:pathLst>
          </a:custGeom>
          <a:solidFill>
            <a:schemeClr val="accent2"/>
          </a:solidFill>
          <a:ln w="5159" cap="flat">
            <a:noFill/>
            <a:prstDash val="solid"/>
            <a:miter/>
          </a:ln>
        </p:spPr>
        <p:txBody>
          <a:bodyPr rtlCol="0" anchor="ctr"/>
          <a:lstStyle/>
          <a:p>
            <a:endParaRPr lang="de-DE">
              <a:solidFill>
                <a:schemeClr val="accent2"/>
              </a:solidFill>
            </a:endParaRPr>
          </a:p>
        </p:txBody>
      </p:sp>
      <p:sp>
        <p:nvSpPr>
          <p:cNvPr id="29" name="Grafik 18">
            <a:extLst>
              <a:ext uri="{FF2B5EF4-FFF2-40B4-BE49-F238E27FC236}">
                <a16:creationId xmlns:a16="http://schemas.microsoft.com/office/drawing/2014/main" id="{0F89C6E1-0093-FDD9-4888-E7AC7543B232}"/>
              </a:ext>
            </a:extLst>
          </p:cNvPr>
          <p:cNvSpPr>
            <a:spLocks noChangeAspect="1"/>
          </p:cNvSpPr>
          <p:nvPr/>
        </p:nvSpPr>
        <p:spPr bwMode="gray">
          <a:xfrm>
            <a:off x="7799050" y="1411046"/>
            <a:ext cx="55166" cy="491479"/>
          </a:xfrm>
          <a:custGeom>
            <a:avLst/>
            <a:gdLst>
              <a:gd name="connsiteX0" fmla="*/ 31500 w 42000"/>
              <a:gd name="connsiteY0" fmla="*/ 0 h 451500"/>
              <a:gd name="connsiteX1" fmla="*/ 10500 w 42000"/>
              <a:gd name="connsiteY1" fmla="*/ 0 h 451500"/>
              <a:gd name="connsiteX2" fmla="*/ 10500 w 42000"/>
              <a:gd name="connsiteY2" fmla="*/ 346500 h 451500"/>
              <a:gd name="connsiteX3" fmla="*/ 31500 w 42000"/>
              <a:gd name="connsiteY3" fmla="*/ 346500 h 451500"/>
              <a:gd name="connsiteX4" fmla="*/ 31500 w 42000"/>
              <a:gd name="connsiteY4" fmla="*/ 0 h 451500"/>
              <a:gd name="connsiteX5" fmla="*/ 21000 w 42000"/>
              <a:gd name="connsiteY5" fmla="*/ 451500 h 451500"/>
              <a:gd name="connsiteX6" fmla="*/ 42000 w 42000"/>
              <a:gd name="connsiteY6" fmla="*/ 430500 h 451500"/>
              <a:gd name="connsiteX7" fmla="*/ 21000 w 42000"/>
              <a:gd name="connsiteY7" fmla="*/ 409500 h 451500"/>
              <a:gd name="connsiteX8" fmla="*/ 0 w 42000"/>
              <a:gd name="connsiteY8" fmla="*/ 430500 h 451500"/>
              <a:gd name="connsiteX9" fmla="*/ 21000 w 42000"/>
              <a:gd name="connsiteY9" fmla="*/ 451500 h 451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42000" h="451500">
                <a:moveTo>
                  <a:pt x="31500" y="0"/>
                </a:moveTo>
                <a:lnTo>
                  <a:pt x="10500" y="0"/>
                </a:lnTo>
                <a:lnTo>
                  <a:pt x="10500" y="346500"/>
                </a:lnTo>
                <a:lnTo>
                  <a:pt x="31500" y="346500"/>
                </a:lnTo>
                <a:lnTo>
                  <a:pt x="31500" y="0"/>
                </a:lnTo>
                <a:close/>
                <a:moveTo>
                  <a:pt x="21000" y="451500"/>
                </a:moveTo>
                <a:cubicBezTo>
                  <a:pt x="32598" y="451500"/>
                  <a:pt x="42000" y="442098"/>
                  <a:pt x="42000" y="430500"/>
                </a:cubicBezTo>
                <a:cubicBezTo>
                  <a:pt x="42000" y="418902"/>
                  <a:pt x="32598" y="409500"/>
                  <a:pt x="21000" y="409500"/>
                </a:cubicBezTo>
                <a:cubicBezTo>
                  <a:pt x="9402" y="409500"/>
                  <a:pt x="0" y="418902"/>
                  <a:pt x="0" y="430500"/>
                </a:cubicBezTo>
                <a:cubicBezTo>
                  <a:pt x="0" y="442098"/>
                  <a:pt x="9402" y="451500"/>
                  <a:pt x="21000" y="451500"/>
                </a:cubicBezTo>
                <a:close/>
              </a:path>
            </a:pathLst>
          </a:custGeom>
          <a:solidFill>
            <a:schemeClr val="accent2"/>
          </a:solidFill>
          <a:ln w="5159" cap="flat">
            <a:noFill/>
            <a:prstDash val="solid"/>
            <a:miter/>
          </a:ln>
        </p:spPr>
        <p:txBody>
          <a:bodyPr rtlCol="0" anchor="ctr"/>
          <a:lstStyle/>
          <a:p>
            <a:endParaRPr lang="de-DE">
              <a:solidFill>
                <a:schemeClr val="accent2"/>
              </a:solidFill>
            </a:endParaRPr>
          </a:p>
        </p:txBody>
      </p:sp>
      <p:sp>
        <p:nvSpPr>
          <p:cNvPr id="30" name="Rectangle: Rounded Corners 29">
            <a:extLst>
              <a:ext uri="{FF2B5EF4-FFF2-40B4-BE49-F238E27FC236}">
                <a16:creationId xmlns:a16="http://schemas.microsoft.com/office/drawing/2014/main" id="{6E2B136E-B1E0-8668-6E86-7178B65EA64B}"/>
              </a:ext>
            </a:extLst>
          </p:cNvPr>
          <p:cNvSpPr/>
          <p:nvPr/>
        </p:nvSpPr>
        <p:spPr bwMode="gray">
          <a:xfrm>
            <a:off x="6701128" y="2853717"/>
            <a:ext cx="1963305" cy="517237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lnSpc>
                <a:spcPct val="110000"/>
              </a:lnSpc>
              <a:spcBef>
                <a:spcPts val="600"/>
              </a:spcBef>
            </a:pPr>
            <a:r>
              <a:rPr lang="de-DE" sz="2000" dirty="0">
                <a:solidFill>
                  <a:schemeClr val="tx1"/>
                </a:solidFill>
                <a:latin typeface="notosans"/>
              </a:rPr>
              <a:t>Brainstorming</a:t>
            </a:r>
            <a:endParaRPr lang="de-DE" sz="2000" b="1" dirty="0">
              <a:solidFill>
                <a:schemeClr val="tx1"/>
              </a:solidFill>
            </a:endParaRPr>
          </a:p>
        </p:txBody>
      </p:sp>
      <p:sp>
        <p:nvSpPr>
          <p:cNvPr id="31" name="Textplatzhalter 5">
            <a:extLst>
              <a:ext uri="{FF2B5EF4-FFF2-40B4-BE49-F238E27FC236}">
                <a16:creationId xmlns:a16="http://schemas.microsoft.com/office/drawing/2014/main" id="{B396F745-8250-8E8F-D654-A6146ABFDA8F}"/>
              </a:ext>
            </a:extLst>
          </p:cNvPr>
          <p:cNvSpPr txBox="1">
            <a:spLocks/>
          </p:cNvSpPr>
          <p:nvPr/>
        </p:nvSpPr>
        <p:spPr bwMode="gray">
          <a:xfrm>
            <a:off x="6701128" y="3677549"/>
            <a:ext cx="2787241" cy="1294420"/>
          </a:xfrm>
          <a:prstGeom prst="rect">
            <a:avLst/>
          </a:prstGeom>
        </p:spPr>
        <p:txBody>
          <a:bodyPr lIns="0" tIns="0" rIns="0" bIns="0"/>
          <a:lstStyle>
            <a:lvl1pPr marL="18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360000" indent="-179388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●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●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179388" indent="-179388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+mj-lt"/>
              <a:buAutoNum type="arabicPeriod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360363" indent="-180975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+mj-lt"/>
              <a:buAutoNum type="alphaLcPeriod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6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b="0" dirty="0">
                <a:solidFill>
                  <a:schemeClr val="accent2"/>
                </a:solidFill>
                <a:latin typeface="notosans"/>
              </a:rPr>
              <a:t>Our Brainstorming Started at the 1st minute of the </a:t>
            </a:r>
            <a:r>
              <a:rPr lang="en-US" b="0" dirty="0" err="1">
                <a:solidFill>
                  <a:schemeClr val="accent2"/>
                </a:solidFill>
                <a:latin typeface="notosans"/>
              </a:rPr>
              <a:t>C</a:t>
            </a:r>
            <a:r>
              <a:rPr lang="en-US" b="0" i="0" dirty="0" err="1">
                <a:solidFill>
                  <a:schemeClr val="accent2"/>
                </a:solidFill>
                <a:effectLst/>
                <a:latin typeface="notosans"/>
              </a:rPr>
              <a:t>ollabothon</a:t>
            </a:r>
            <a:endParaRPr kumimoji="0" lang="de-DE" sz="1800" b="1" i="0" u="none" strike="noStrike" kern="120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33" name="Picture Placeholder 26">
            <a:extLst>
              <a:ext uri="{FF2B5EF4-FFF2-40B4-BE49-F238E27FC236}">
                <a16:creationId xmlns:a16="http://schemas.microsoft.com/office/drawing/2014/main" id="{9A0D3CFC-5047-7123-9E4C-2521B05C95B5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19890" t="-55223" r="-126598" b="-55223"/>
          <a:stretch/>
        </p:blipFill>
        <p:spPr>
          <a:xfrm>
            <a:off x="12086564" y="1240674"/>
            <a:ext cx="3743324" cy="3743324"/>
          </a:xfrm>
          <a:prstGeom prst="rect">
            <a:avLst/>
          </a:prstGeom>
        </p:spPr>
      </p:pic>
      <p:pic>
        <p:nvPicPr>
          <p:cNvPr id="34" name="Picture Placeholder 28">
            <a:extLst>
              <a:ext uri="{FF2B5EF4-FFF2-40B4-BE49-F238E27FC236}">
                <a16:creationId xmlns:a16="http://schemas.microsoft.com/office/drawing/2014/main" id="{1641DE2F-B658-C942-9935-1E25182D05DA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61583" t="-62717" r="-63846" b="-62717"/>
          <a:stretch/>
        </p:blipFill>
        <p:spPr>
          <a:xfrm>
            <a:off x="19349306" y="1341502"/>
            <a:ext cx="3743324" cy="3743324"/>
          </a:xfrm>
          <a:prstGeom prst="rect">
            <a:avLst/>
          </a:prstGeom>
        </p:spPr>
      </p:pic>
      <p:pic>
        <p:nvPicPr>
          <p:cNvPr id="35" name="Picture Placeholder 30">
            <a:extLst>
              <a:ext uri="{FF2B5EF4-FFF2-40B4-BE49-F238E27FC236}">
                <a16:creationId xmlns:a16="http://schemas.microsoft.com/office/drawing/2014/main" id="{A8966BE9-614E-5D14-5D23-5F16DF0F7B73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47776" t="-46704" r="-58682" b="-46704"/>
          <a:stretch/>
        </p:blipFill>
        <p:spPr>
          <a:xfrm>
            <a:off x="25009108" y="1641947"/>
            <a:ext cx="3743324" cy="3743324"/>
          </a:xfrm>
          <a:prstGeom prst="rect">
            <a:avLst/>
          </a:prstGeom>
        </p:spPr>
      </p:pic>
      <p:sp>
        <p:nvSpPr>
          <p:cNvPr id="36" name="TextBox 35">
            <a:extLst>
              <a:ext uri="{FF2B5EF4-FFF2-40B4-BE49-F238E27FC236}">
                <a16:creationId xmlns:a16="http://schemas.microsoft.com/office/drawing/2014/main" id="{6832C0F0-C84D-C0CA-C25F-C981023EA211}"/>
              </a:ext>
            </a:extLst>
          </p:cNvPr>
          <p:cNvSpPr txBox="1"/>
          <p:nvPr/>
        </p:nvSpPr>
        <p:spPr bwMode="gray">
          <a:xfrm>
            <a:off x="12049000" y="5111984"/>
            <a:ext cx="3604653" cy="40481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buClr>
                <a:schemeClr val="accent2"/>
              </a:buClr>
              <a:buSzPct val="110000"/>
            </a:pPr>
            <a:r>
              <a:rPr lang="de-DE" sz="3200" b="1" dirty="0">
                <a:solidFill>
                  <a:schemeClr val="accent2"/>
                </a:solidFill>
                <a:latin typeface="+mj-lt"/>
                <a:ea typeface="+mj-ea"/>
                <a:cs typeface="+mj-cs"/>
              </a:rPr>
              <a:t>The </a:t>
            </a:r>
            <a:r>
              <a:rPr lang="de-DE" sz="3200" b="1" dirty="0" err="1">
                <a:solidFill>
                  <a:schemeClr val="accent2"/>
                </a:solidFill>
                <a:latin typeface="+mj-lt"/>
                <a:ea typeface="+mj-ea"/>
                <a:cs typeface="+mj-cs"/>
              </a:rPr>
              <a:t>Idea</a:t>
            </a:r>
            <a:endParaRPr lang="de-DE" sz="3200" b="1" dirty="0">
              <a:solidFill>
                <a:schemeClr val="accent2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455CE0E3-5246-3469-DE85-E77F608321B0}"/>
              </a:ext>
            </a:extLst>
          </p:cNvPr>
          <p:cNvSpPr txBox="1"/>
          <p:nvPr/>
        </p:nvSpPr>
        <p:spPr bwMode="gray">
          <a:xfrm>
            <a:off x="19223624" y="5212812"/>
            <a:ext cx="3780889" cy="40481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buClr>
                <a:schemeClr val="accent2"/>
              </a:buClr>
              <a:buSzPct val="110000"/>
            </a:pPr>
            <a:r>
              <a:rPr lang="de-DE" sz="3200" b="1" dirty="0">
                <a:solidFill>
                  <a:schemeClr val="accent2"/>
                </a:solidFill>
                <a:latin typeface="+mj-lt"/>
                <a:ea typeface="+mj-ea"/>
                <a:cs typeface="+mj-cs"/>
              </a:rPr>
              <a:t>The Progress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D0C757D7-81F4-B289-3498-077BA3FDD733}"/>
              </a:ext>
            </a:extLst>
          </p:cNvPr>
          <p:cNvSpPr txBox="1"/>
          <p:nvPr/>
        </p:nvSpPr>
        <p:spPr bwMode="gray">
          <a:xfrm>
            <a:off x="25009108" y="5513257"/>
            <a:ext cx="3780889" cy="40481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buClr>
                <a:schemeClr val="accent2"/>
              </a:buClr>
              <a:buSzPct val="110000"/>
            </a:pPr>
            <a:r>
              <a:rPr lang="de-DE" sz="3200" b="1" dirty="0">
                <a:solidFill>
                  <a:schemeClr val="accent2"/>
                </a:solidFill>
                <a:latin typeface="+mj-lt"/>
                <a:ea typeface="+mj-ea"/>
                <a:cs typeface="+mj-cs"/>
              </a:rPr>
              <a:t>The </a:t>
            </a:r>
            <a:r>
              <a:rPr lang="de-DE" sz="3200" b="1" dirty="0" err="1">
                <a:solidFill>
                  <a:schemeClr val="accent2"/>
                </a:solidFill>
                <a:latin typeface="+mj-lt"/>
                <a:ea typeface="+mj-ea"/>
                <a:cs typeface="+mj-cs"/>
              </a:rPr>
              <a:t>Product</a:t>
            </a:r>
            <a:endParaRPr lang="de-DE" sz="3200" b="1" dirty="0">
              <a:solidFill>
                <a:schemeClr val="accent2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39" name="Title 9">
            <a:extLst>
              <a:ext uri="{FF2B5EF4-FFF2-40B4-BE49-F238E27FC236}">
                <a16:creationId xmlns:a16="http://schemas.microsoft.com/office/drawing/2014/main" id="{75B98863-1D18-71E2-5CA6-F26B9E91B7BD}"/>
              </a:ext>
            </a:extLst>
          </p:cNvPr>
          <p:cNvSpPr txBox="1">
            <a:spLocks/>
          </p:cNvSpPr>
          <p:nvPr/>
        </p:nvSpPr>
        <p:spPr bwMode="gray">
          <a:xfrm>
            <a:off x="12049000" y="-193140"/>
            <a:ext cx="11518898" cy="1123950"/>
          </a:xfrm>
          <a:prstGeom prst="rect">
            <a:avLst/>
          </a:prstGeom>
        </p:spPr>
        <p:txBody>
          <a:bodyPr vert="horz" lIns="0" tIns="216000" rIns="864000" bIns="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de-DE" dirty="0">
                <a:solidFill>
                  <a:schemeClr val="accent2"/>
                </a:solidFill>
              </a:rPr>
              <a:t>&lt;____&gt;</a:t>
            </a:r>
          </a:p>
        </p:txBody>
      </p:sp>
      <p:sp>
        <p:nvSpPr>
          <p:cNvPr id="57" name="Footer Placeholder 3">
            <a:extLst>
              <a:ext uri="{FF2B5EF4-FFF2-40B4-BE49-F238E27FC236}">
                <a16:creationId xmlns:a16="http://schemas.microsoft.com/office/drawing/2014/main" id="{BB3B883C-E61D-671D-C7E6-BAA1A28FAD5E}"/>
              </a:ext>
            </a:extLst>
          </p:cNvPr>
          <p:cNvSpPr txBox="1">
            <a:spLocks/>
          </p:cNvSpPr>
          <p:nvPr/>
        </p:nvSpPr>
        <p:spPr>
          <a:xfrm>
            <a:off x="3251684" y="6453188"/>
            <a:ext cx="5689116" cy="404812"/>
          </a:xfrm>
          <a:prstGeom prst="rect">
            <a:avLst/>
          </a:prstGeom>
        </p:spPr>
        <p:txBody>
          <a:bodyPr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800" dirty="0">
                <a:solidFill>
                  <a:schemeClr val="accent2"/>
                </a:solidFill>
                <a:latin typeface="Arial"/>
              </a:rPr>
              <a:t>Commerzbank AG, Anton Mattuschat, GS-TF 13 </a:t>
            </a:r>
            <a:r>
              <a:rPr lang="de-DE" sz="800" dirty="0" err="1">
                <a:solidFill>
                  <a:schemeClr val="accent2"/>
                </a:solidFill>
                <a:latin typeface="Arial"/>
              </a:rPr>
              <a:t>Operations</a:t>
            </a:r>
            <a:r>
              <a:rPr lang="de-DE" sz="800" dirty="0">
                <a:solidFill>
                  <a:schemeClr val="accent2"/>
                </a:solidFill>
                <a:latin typeface="Arial"/>
              </a:rPr>
              <a:t> &amp; Monitoring </a:t>
            </a:r>
          </a:p>
        </p:txBody>
      </p:sp>
      <p:sp>
        <p:nvSpPr>
          <p:cNvPr id="58" name="Textplatzhalter 5">
            <a:extLst>
              <a:ext uri="{FF2B5EF4-FFF2-40B4-BE49-F238E27FC236}">
                <a16:creationId xmlns:a16="http://schemas.microsoft.com/office/drawing/2014/main" id="{D34CC0F9-CC11-C9C2-106E-7FA0B3BF2989}"/>
              </a:ext>
            </a:extLst>
          </p:cNvPr>
          <p:cNvSpPr txBox="1">
            <a:spLocks/>
          </p:cNvSpPr>
          <p:nvPr/>
        </p:nvSpPr>
        <p:spPr bwMode="gray">
          <a:xfrm>
            <a:off x="3238318" y="3689578"/>
            <a:ext cx="2787241" cy="1294420"/>
          </a:xfrm>
          <a:prstGeom prst="rect">
            <a:avLst/>
          </a:prstGeom>
        </p:spPr>
        <p:txBody>
          <a:bodyPr lIns="0" tIns="0" rIns="0" bIns="0"/>
          <a:lstStyle>
            <a:lvl1pPr marL="18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360000" indent="-179388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●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●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179388" indent="-179388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+mj-lt"/>
              <a:buAutoNum type="arabicPeriod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360363" indent="-180975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+mj-lt"/>
              <a:buAutoNum type="alphaLcPeriod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6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b="0" dirty="0">
                <a:solidFill>
                  <a:schemeClr val="accent2"/>
                </a:solidFill>
                <a:latin typeface="notosans"/>
              </a:rPr>
              <a:t>3</a:t>
            </a:r>
            <a:r>
              <a:rPr lang="en-US" b="0" i="0" dirty="0">
                <a:solidFill>
                  <a:schemeClr val="accent2"/>
                </a:solidFill>
                <a:effectLst/>
                <a:latin typeface="notosans"/>
              </a:rPr>
              <a:t> interns that met at the </a:t>
            </a:r>
            <a:r>
              <a:rPr lang="en-US" b="0" dirty="0" err="1">
                <a:solidFill>
                  <a:schemeClr val="accent2"/>
                </a:solidFill>
                <a:latin typeface="notosans"/>
              </a:rPr>
              <a:t>C</a:t>
            </a:r>
            <a:r>
              <a:rPr lang="en-US" b="0" i="0" dirty="0" err="1">
                <a:solidFill>
                  <a:schemeClr val="accent2"/>
                </a:solidFill>
                <a:effectLst/>
                <a:latin typeface="notosans"/>
              </a:rPr>
              <a:t>ollabothon</a:t>
            </a:r>
            <a:r>
              <a:rPr lang="en-US" b="0" i="0" dirty="0">
                <a:solidFill>
                  <a:schemeClr val="accent2"/>
                </a:solidFill>
                <a:effectLst/>
                <a:latin typeface="notosans"/>
              </a:rPr>
              <a:t> </a:t>
            </a:r>
            <a:endParaRPr kumimoji="0" lang="de-DE" sz="1800" b="1" i="0" u="none" strike="noStrike" kern="120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FF6D4D0F-F788-FF5E-3AEA-F12793CE218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9986170" y="5918069"/>
            <a:ext cx="15975446" cy="158325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522893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871FDBC-F6A8-944E-21DE-6207A40FBE8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C62A6E7-389E-4E89-A786-2259640CCAF9}" type="datetime1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.10.2023</a:t>
            </a:fld>
            <a:endParaRPr kumimoji="0" lang="de-DE" sz="800" b="0" i="0" u="none" strike="noStrike" kern="1200" cap="none" spc="0" normalizeH="0" baseline="0" noProof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27" name="Picture Placeholder 26">
            <a:extLst>
              <a:ext uri="{FF2B5EF4-FFF2-40B4-BE49-F238E27FC236}">
                <a16:creationId xmlns:a16="http://schemas.microsoft.com/office/drawing/2014/main" id="{B43C3DDF-8D86-B971-878C-02E376C47C1F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2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19890" t="-55223" r="-126598" b="-55223"/>
          <a:stretch/>
        </p:blipFill>
        <p:spPr>
          <a:xfrm>
            <a:off x="355332" y="663134"/>
            <a:ext cx="3743324" cy="3743324"/>
          </a:xfrm>
        </p:spPr>
      </p:pic>
      <p:pic>
        <p:nvPicPr>
          <p:cNvPr id="29" name="Picture Placeholder 28">
            <a:extLst>
              <a:ext uri="{FF2B5EF4-FFF2-40B4-BE49-F238E27FC236}">
                <a16:creationId xmlns:a16="http://schemas.microsoft.com/office/drawing/2014/main" id="{7253D589-55F6-3AF2-B1B1-3C81C99B3188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3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61583" t="-62717" r="-63846" b="-62717"/>
          <a:stretch/>
        </p:blipFill>
        <p:spPr>
          <a:xfrm>
            <a:off x="4224338" y="663134"/>
            <a:ext cx="3743324" cy="3743324"/>
          </a:xfrm>
        </p:spPr>
      </p:pic>
      <p:pic>
        <p:nvPicPr>
          <p:cNvPr id="31" name="Picture Placeholder 30">
            <a:extLst>
              <a:ext uri="{FF2B5EF4-FFF2-40B4-BE49-F238E27FC236}">
                <a16:creationId xmlns:a16="http://schemas.microsoft.com/office/drawing/2014/main" id="{24522E43-F2CF-6729-701C-D01519BE46EE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 rotWithShape="1">
          <a:blip r:embed="rId4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47776" t="-46704" r="-58682" b="-46704"/>
          <a:stretch/>
        </p:blipFill>
        <p:spPr>
          <a:xfrm>
            <a:off x="8055780" y="663134"/>
            <a:ext cx="3743324" cy="3743324"/>
          </a:xfr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AD85F3CE-34C5-CA81-EA55-D7233DD6CADE}"/>
              </a:ext>
            </a:extLst>
          </p:cNvPr>
          <p:cNvSpPr txBox="1"/>
          <p:nvPr/>
        </p:nvSpPr>
        <p:spPr bwMode="gray">
          <a:xfrm>
            <a:off x="317768" y="4534444"/>
            <a:ext cx="3604653" cy="40481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buClr>
                <a:schemeClr val="accent2"/>
              </a:buClr>
              <a:buSzPct val="110000"/>
            </a:pPr>
            <a:r>
              <a:rPr lang="de-DE" sz="3200" b="1" dirty="0">
                <a:solidFill>
                  <a:schemeClr val="accent2"/>
                </a:solidFill>
                <a:latin typeface="+mj-lt"/>
                <a:ea typeface="+mj-ea"/>
                <a:cs typeface="+mj-cs"/>
              </a:rPr>
              <a:t>The </a:t>
            </a:r>
            <a:r>
              <a:rPr lang="de-DE" sz="3200" b="1" dirty="0" err="1">
                <a:solidFill>
                  <a:schemeClr val="accent2"/>
                </a:solidFill>
                <a:latin typeface="+mj-lt"/>
                <a:ea typeface="+mj-ea"/>
                <a:cs typeface="+mj-cs"/>
              </a:rPr>
              <a:t>Idea</a:t>
            </a:r>
            <a:endParaRPr lang="de-DE" sz="3200" b="1" dirty="0">
              <a:solidFill>
                <a:schemeClr val="accent2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B26CF77-DAD1-7F24-5B2F-AC89CBEFE155}"/>
              </a:ext>
            </a:extLst>
          </p:cNvPr>
          <p:cNvSpPr txBox="1"/>
          <p:nvPr/>
        </p:nvSpPr>
        <p:spPr bwMode="gray">
          <a:xfrm>
            <a:off x="4098656" y="4534444"/>
            <a:ext cx="3780889" cy="40481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buClr>
                <a:schemeClr val="accent2"/>
              </a:buClr>
              <a:buSzPct val="110000"/>
            </a:pPr>
            <a:r>
              <a:rPr lang="de-DE" sz="3200" b="1" dirty="0">
                <a:solidFill>
                  <a:schemeClr val="accent2"/>
                </a:solidFill>
                <a:latin typeface="+mj-lt"/>
                <a:ea typeface="+mj-ea"/>
                <a:cs typeface="+mj-cs"/>
              </a:rPr>
              <a:t>The Progres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2A66B92-C8D8-CD35-FCE0-48978FEC61FD}"/>
              </a:ext>
            </a:extLst>
          </p:cNvPr>
          <p:cNvSpPr txBox="1"/>
          <p:nvPr/>
        </p:nvSpPr>
        <p:spPr bwMode="gray">
          <a:xfrm>
            <a:off x="8055780" y="4534444"/>
            <a:ext cx="3780889" cy="40481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buClr>
                <a:schemeClr val="accent2"/>
              </a:buClr>
              <a:buSzPct val="110000"/>
            </a:pPr>
            <a:r>
              <a:rPr lang="de-DE" sz="3200" b="1" dirty="0">
                <a:solidFill>
                  <a:schemeClr val="accent2"/>
                </a:solidFill>
                <a:latin typeface="+mj-lt"/>
                <a:ea typeface="+mj-ea"/>
                <a:cs typeface="+mj-cs"/>
              </a:rPr>
              <a:t>The </a:t>
            </a:r>
            <a:r>
              <a:rPr lang="de-DE" sz="3200" b="1" dirty="0" err="1">
                <a:solidFill>
                  <a:schemeClr val="accent2"/>
                </a:solidFill>
                <a:latin typeface="+mj-lt"/>
                <a:ea typeface="+mj-ea"/>
                <a:cs typeface="+mj-cs"/>
              </a:rPr>
              <a:t>Product</a:t>
            </a:r>
            <a:endParaRPr lang="de-DE" sz="3200" b="1" dirty="0">
              <a:solidFill>
                <a:schemeClr val="accent2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23" name="Freihandform: Form 116">
            <a:extLst>
              <a:ext uri="{FF2B5EF4-FFF2-40B4-BE49-F238E27FC236}">
                <a16:creationId xmlns:a16="http://schemas.microsoft.com/office/drawing/2014/main" id="{E15985C0-CEFB-909A-E62A-E8D8AB2780AE}"/>
              </a:ext>
            </a:extLst>
          </p:cNvPr>
          <p:cNvSpPr>
            <a:spLocks noChangeAspect="1"/>
          </p:cNvSpPr>
          <p:nvPr/>
        </p:nvSpPr>
        <p:spPr bwMode="gray">
          <a:xfrm>
            <a:off x="-10277631" y="1557338"/>
            <a:ext cx="1343864" cy="1124277"/>
          </a:xfrm>
          <a:custGeom>
            <a:avLst/>
            <a:gdLst>
              <a:gd name="connsiteX0" fmla="*/ 300990 w 874395"/>
              <a:gd name="connsiteY0" fmla="*/ 416242 h 731520"/>
              <a:gd name="connsiteX1" fmla="*/ 437198 w 874395"/>
              <a:gd name="connsiteY1" fmla="*/ 485774 h 731520"/>
              <a:gd name="connsiteX2" fmla="*/ 574358 w 874395"/>
              <a:gd name="connsiteY2" fmla="*/ 416242 h 731520"/>
              <a:gd name="connsiteX3" fmla="*/ 609600 w 874395"/>
              <a:gd name="connsiteY3" fmla="*/ 421957 h 731520"/>
              <a:gd name="connsiteX4" fmla="*/ 772478 w 874395"/>
              <a:gd name="connsiteY4" fmla="*/ 601027 h 731520"/>
              <a:gd name="connsiteX5" fmla="*/ 781050 w 874395"/>
              <a:gd name="connsiteY5" fmla="*/ 731520 h 731520"/>
              <a:gd name="connsiteX6" fmla="*/ 742950 w 874395"/>
              <a:gd name="connsiteY6" fmla="*/ 731520 h 731520"/>
              <a:gd name="connsiteX7" fmla="*/ 735330 w 874395"/>
              <a:gd name="connsiteY7" fmla="*/ 605789 h 731520"/>
              <a:gd name="connsiteX8" fmla="*/ 602933 w 874395"/>
              <a:gd name="connsiteY8" fmla="*/ 459105 h 731520"/>
              <a:gd name="connsiteX9" fmla="*/ 581025 w 874395"/>
              <a:gd name="connsiteY9" fmla="*/ 456247 h 731520"/>
              <a:gd name="connsiteX10" fmla="*/ 438150 w 874395"/>
              <a:gd name="connsiteY10" fmla="*/ 528637 h 731520"/>
              <a:gd name="connsiteX11" fmla="*/ 295275 w 874395"/>
              <a:gd name="connsiteY11" fmla="*/ 456247 h 731520"/>
              <a:gd name="connsiteX12" fmla="*/ 273368 w 874395"/>
              <a:gd name="connsiteY12" fmla="*/ 459105 h 731520"/>
              <a:gd name="connsiteX13" fmla="*/ 140970 w 874395"/>
              <a:gd name="connsiteY13" fmla="*/ 605789 h 731520"/>
              <a:gd name="connsiteX14" fmla="*/ 133350 w 874395"/>
              <a:gd name="connsiteY14" fmla="*/ 731520 h 731520"/>
              <a:gd name="connsiteX15" fmla="*/ 95250 w 874395"/>
              <a:gd name="connsiteY15" fmla="*/ 731520 h 731520"/>
              <a:gd name="connsiteX16" fmla="*/ 103822 w 874395"/>
              <a:gd name="connsiteY16" fmla="*/ 601027 h 731520"/>
              <a:gd name="connsiteX17" fmla="*/ 265748 w 874395"/>
              <a:gd name="connsiteY17" fmla="*/ 421957 h 731520"/>
              <a:gd name="connsiteX18" fmla="*/ 266700 w 874395"/>
              <a:gd name="connsiteY18" fmla="*/ 421957 h 731520"/>
              <a:gd name="connsiteX19" fmla="*/ 119063 w 874395"/>
              <a:gd name="connsiteY19" fmla="*/ 390525 h 731520"/>
              <a:gd name="connsiteX20" fmla="*/ 236220 w 874395"/>
              <a:gd name="connsiteY20" fmla="*/ 390525 h 731520"/>
              <a:gd name="connsiteX21" fmla="*/ 162878 w 874395"/>
              <a:gd name="connsiteY21" fmla="*/ 428625 h 731520"/>
              <a:gd name="connsiteX22" fmla="*/ 120015 w 874395"/>
              <a:gd name="connsiteY22" fmla="*/ 428625 h 731520"/>
              <a:gd name="connsiteX23" fmla="*/ 107633 w 874395"/>
              <a:gd name="connsiteY23" fmla="*/ 431482 h 731520"/>
              <a:gd name="connsiteX24" fmla="*/ 41910 w 874395"/>
              <a:gd name="connsiteY24" fmla="*/ 503873 h 731520"/>
              <a:gd name="connsiteX25" fmla="*/ 38100 w 874395"/>
              <a:gd name="connsiteY25" fmla="*/ 563880 h 731520"/>
              <a:gd name="connsiteX26" fmla="*/ 0 w 874395"/>
              <a:gd name="connsiteY26" fmla="*/ 563880 h 731520"/>
              <a:gd name="connsiteX27" fmla="*/ 4763 w 874395"/>
              <a:gd name="connsiteY27" fmla="*/ 499110 h 731520"/>
              <a:gd name="connsiteX28" fmla="*/ 100013 w 874395"/>
              <a:gd name="connsiteY28" fmla="*/ 393382 h 731520"/>
              <a:gd name="connsiteX29" fmla="*/ 100965 w 874395"/>
              <a:gd name="connsiteY29" fmla="*/ 393382 h 731520"/>
              <a:gd name="connsiteX30" fmla="*/ 638175 w 874395"/>
              <a:gd name="connsiteY30" fmla="*/ 389572 h 731520"/>
              <a:gd name="connsiteX31" fmla="*/ 758190 w 874395"/>
              <a:gd name="connsiteY31" fmla="*/ 389572 h 731520"/>
              <a:gd name="connsiteX32" fmla="*/ 775335 w 874395"/>
              <a:gd name="connsiteY32" fmla="*/ 392429 h 731520"/>
              <a:gd name="connsiteX33" fmla="*/ 870585 w 874395"/>
              <a:gd name="connsiteY33" fmla="*/ 498157 h 731520"/>
              <a:gd name="connsiteX34" fmla="*/ 874395 w 874395"/>
              <a:gd name="connsiteY34" fmla="*/ 561974 h 731520"/>
              <a:gd name="connsiteX35" fmla="*/ 836295 w 874395"/>
              <a:gd name="connsiteY35" fmla="*/ 561974 h 731520"/>
              <a:gd name="connsiteX36" fmla="*/ 832485 w 874395"/>
              <a:gd name="connsiteY36" fmla="*/ 501967 h 731520"/>
              <a:gd name="connsiteX37" fmla="*/ 766763 w 874395"/>
              <a:gd name="connsiteY37" fmla="*/ 429577 h 731520"/>
              <a:gd name="connsiteX38" fmla="*/ 753427 w 874395"/>
              <a:gd name="connsiteY38" fmla="*/ 427672 h 731520"/>
              <a:gd name="connsiteX39" fmla="*/ 711517 w 874395"/>
              <a:gd name="connsiteY39" fmla="*/ 427672 h 731520"/>
              <a:gd name="connsiteX40" fmla="*/ 638175 w 874395"/>
              <a:gd name="connsiteY40" fmla="*/ 389572 h 731520"/>
              <a:gd name="connsiteX41" fmla="*/ 202882 w 874395"/>
              <a:gd name="connsiteY41" fmla="*/ 75247 h 731520"/>
              <a:gd name="connsiteX42" fmla="*/ 258128 w 874395"/>
              <a:gd name="connsiteY42" fmla="*/ 89534 h 731520"/>
              <a:gd name="connsiteX43" fmla="*/ 248603 w 874395"/>
              <a:gd name="connsiteY43" fmla="*/ 128587 h 731520"/>
              <a:gd name="connsiteX44" fmla="*/ 202882 w 874395"/>
              <a:gd name="connsiteY44" fmla="*/ 112395 h 731520"/>
              <a:gd name="connsiteX45" fmla="*/ 129540 w 874395"/>
              <a:gd name="connsiteY45" fmla="*/ 185737 h 731520"/>
              <a:gd name="connsiteX46" fmla="*/ 129540 w 874395"/>
              <a:gd name="connsiteY46" fmla="*/ 240982 h 731520"/>
              <a:gd name="connsiteX47" fmla="*/ 202882 w 874395"/>
              <a:gd name="connsiteY47" fmla="*/ 314325 h 731520"/>
              <a:gd name="connsiteX48" fmla="*/ 257175 w 874395"/>
              <a:gd name="connsiteY48" fmla="*/ 290512 h 731520"/>
              <a:gd name="connsiteX49" fmla="*/ 274320 w 874395"/>
              <a:gd name="connsiteY49" fmla="*/ 326707 h 731520"/>
              <a:gd name="connsiteX50" fmla="*/ 203835 w 874395"/>
              <a:gd name="connsiteY50" fmla="*/ 352425 h 731520"/>
              <a:gd name="connsiteX51" fmla="*/ 91440 w 874395"/>
              <a:gd name="connsiteY51" fmla="*/ 241935 h 731520"/>
              <a:gd name="connsiteX52" fmla="*/ 91440 w 874395"/>
              <a:gd name="connsiteY52" fmla="*/ 186690 h 731520"/>
              <a:gd name="connsiteX53" fmla="*/ 202882 w 874395"/>
              <a:gd name="connsiteY53" fmla="*/ 75247 h 731520"/>
              <a:gd name="connsiteX54" fmla="*/ 687704 w 874395"/>
              <a:gd name="connsiteY54" fmla="*/ 74295 h 731520"/>
              <a:gd name="connsiteX55" fmla="*/ 799147 w 874395"/>
              <a:gd name="connsiteY55" fmla="*/ 185738 h 731520"/>
              <a:gd name="connsiteX56" fmla="*/ 799147 w 874395"/>
              <a:gd name="connsiteY56" fmla="*/ 240982 h 731520"/>
              <a:gd name="connsiteX57" fmla="*/ 687704 w 874395"/>
              <a:gd name="connsiteY57" fmla="*/ 352425 h 731520"/>
              <a:gd name="connsiteX58" fmla="*/ 606742 w 874395"/>
              <a:gd name="connsiteY58" fmla="*/ 317182 h 731520"/>
              <a:gd name="connsiteX59" fmla="*/ 622935 w 874395"/>
              <a:gd name="connsiteY59" fmla="*/ 274320 h 731520"/>
              <a:gd name="connsiteX60" fmla="*/ 687704 w 874395"/>
              <a:gd name="connsiteY60" fmla="*/ 314325 h 731520"/>
              <a:gd name="connsiteX61" fmla="*/ 761047 w 874395"/>
              <a:gd name="connsiteY61" fmla="*/ 240982 h 731520"/>
              <a:gd name="connsiteX62" fmla="*/ 761047 w 874395"/>
              <a:gd name="connsiteY62" fmla="*/ 185738 h 731520"/>
              <a:gd name="connsiteX63" fmla="*/ 687704 w 874395"/>
              <a:gd name="connsiteY63" fmla="*/ 112395 h 731520"/>
              <a:gd name="connsiteX64" fmla="*/ 627697 w 874395"/>
              <a:gd name="connsiteY64" fmla="*/ 143828 h 731520"/>
              <a:gd name="connsiteX65" fmla="*/ 620077 w 874395"/>
              <a:gd name="connsiteY65" fmla="*/ 97155 h 731520"/>
              <a:gd name="connsiteX66" fmla="*/ 687704 w 874395"/>
              <a:gd name="connsiteY66" fmla="*/ 74295 h 731520"/>
              <a:gd name="connsiteX67" fmla="*/ 437197 w 874395"/>
              <a:gd name="connsiteY67" fmla="*/ 38100 h 731520"/>
              <a:gd name="connsiteX68" fmla="*/ 322897 w 874395"/>
              <a:gd name="connsiteY68" fmla="*/ 152400 h 731520"/>
              <a:gd name="connsiteX69" fmla="*/ 322897 w 874395"/>
              <a:gd name="connsiteY69" fmla="*/ 228600 h 731520"/>
              <a:gd name="connsiteX70" fmla="*/ 437197 w 874395"/>
              <a:gd name="connsiteY70" fmla="*/ 342900 h 731520"/>
              <a:gd name="connsiteX71" fmla="*/ 551497 w 874395"/>
              <a:gd name="connsiteY71" fmla="*/ 228600 h 731520"/>
              <a:gd name="connsiteX72" fmla="*/ 551497 w 874395"/>
              <a:gd name="connsiteY72" fmla="*/ 152400 h 731520"/>
              <a:gd name="connsiteX73" fmla="*/ 437197 w 874395"/>
              <a:gd name="connsiteY73" fmla="*/ 38100 h 731520"/>
              <a:gd name="connsiteX74" fmla="*/ 437197 w 874395"/>
              <a:gd name="connsiteY74" fmla="*/ 0 h 731520"/>
              <a:gd name="connsiteX75" fmla="*/ 589597 w 874395"/>
              <a:gd name="connsiteY75" fmla="*/ 152400 h 731520"/>
              <a:gd name="connsiteX76" fmla="*/ 589597 w 874395"/>
              <a:gd name="connsiteY76" fmla="*/ 228600 h 731520"/>
              <a:gd name="connsiteX77" fmla="*/ 437197 w 874395"/>
              <a:gd name="connsiteY77" fmla="*/ 381000 h 731520"/>
              <a:gd name="connsiteX78" fmla="*/ 284797 w 874395"/>
              <a:gd name="connsiteY78" fmla="*/ 228600 h 731520"/>
              <a:gd name="connsiteX79" fmla="*/ 284797 w 874395"/>
              <a:gd name="connsiteY79" fmla="*/ 152400 h 731520"/>
              <a:gd name="connsiteX80" fmla="*/ 437197 w 874395"/>
              <a:gd name="connsiteY80" fmla="*/ 0 h 7315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</a:cxnLst>
            <a:rect l="l" t="t" r="r" b="b"/>
            <a:pathLst>
              <a:path w="874395" h="731520">
                <a:moveTo>
                  <a:pt x="300990" y="416242"/>
                </a:moveTo>
                <a:lnTo>
                  <a:pt x="437198" y="485774"/>
                </a:lnTo>
                <a:lnTo>
                  <a:pt x="574358" y="416242"/>
                </a:lnTo>
                <a:lnTo>
                  <a:pt x="609600" y="421957"/>
                </a:lnTo>
                <a:cubicBezTo>
                  <a:pt x="696278" y="441007"/>
                  <a:pt x="761048" y="513397"/>
                  <a:pt x="772478" y="601027"/>
                </a:cubicBezTo>
                <a:cubicBezTo>
                  <a:pt x="778193" y="641985"/>
                  <a:pt x="780098" y="685800"/>
                  <a:pt x="781050" y="731520"/>
                </a:cubicBezTo>
                <a:lnTo>
                  <a:pt x="742950" y="731520"/>
                </a:lnTo>
                <a:cubicBezTo>
                  <a:pt x="742950" y="687704"/>
                  <a:pt x="740093" y="644842"/>
                  <a:pt x="735330" y="605789"/>
                </a:cubicBezTo>
                <a:cubicBezTo>
                  <a:pt x="725805" y="533399"/>
                  <a:pt x="673418" y="475297"/>
                  <a:pt x="602933" y="459105"/>
                </a:cubicBezTo>
                <a:lnTo>
                  <a:pt x="581025" y="456247"/>
                </a:lnTo>
                <a:lnTo>
                  <a:pt x="438150" y="528637"/>
                </a:lnTo>
                <a:lnTo>
                  <a:pt x="295275" y="456247"/>
                </a:lnTo>
                <a:lnTo>
                  <a:pt x="273368" y="459105"/>
                </a:lnTo>
                <a:cubicBezTo>
                  <a:pt x="202882" y="475297"/>
                  <a:pt x="149543" y="534352"/>
                  <a:pt x="140970" y="605789"/>
                </a:cubicBezTo>
                <a:cubicBezTo>
                  <a:pt x="136208" y="644842"/>
                  <a:pt x="134303" y="686752"/>
                  <a:pt x="133350" y="731520"/>
                </a:cubicBezTo>
                <a:lnTo>
                  <a:pt x="95250" y="731520"/>
                </a:lnTo>
                <a:cubicBezTo>
                  <a:pt x="96203" y="685800"/>
                  <a:pt x="99060" y="641985"/>
                  <a:pt x="103822" y="601027"/>
                </a:cubicBezTo>
                <a:cubicBezTo>
                  <a:pt x="114300" y="513397"/>
                  <a:pt x="180023" y="441007"/>
                  <a:pt x="265748" y="421957"/>
                </a:cubicBezTo>
                <a:lnTo>
                  <a:pt x="266700" y="421957"/>
                </a:lnTo>
                <a:close/>
                <a:moveTo>
                  <a:pt x="119063" y="390525"/>
                </a:moveTo>
                <a:lnTo>
                  <a:pt x="236220" y="390525"/>
                </a:lnTo>
                <a:cubicBezTo>
                  <a:pt x="209550" y="399098"/>
                  <a:pt x="184785" y="412432"/>
                  <a:pt x="162878" y="428625"/>
                </a:cubicBezTo>
                <a:lnTo>
                  <a:pt x="120015" y="428625"/>
                </a:lnTo>
                <a:lnTo>
                  <a:pt x="107633" y="431482"/>
                </a:lnTo>
                <a:cubicBezTo>
                  <a:pt x="72390" y="439102"/>
                  <a:pt x="46673" y="468630"/>
                  <a:pt x="41910" y="503873"/>
                </a:cubicBezTo>
                <a:cubicBezTo>
                  <a:pt x="40005" y="522923"/>
                  <a:pt x="39053" y="542925"/>
                  <a:pt x="38100" y="563880"/>
                </a:cubicBezTo>
                <a:lnTo>
                  <a:pt x="0" y="563880"/>
                </a:lnTo>
                <a:cubicBezTo>
                  <a:pt x="953" y="541020"/>
                  <a:pt x="1905" y="519113"/>
                  <a:pt x="4763" y="499110"/>
                </a:cubicBezTo>
                <a:cubicBezTo>
                  <a:pt x="10478" y="446723"/>
                  <a:pt x="49530" y="404813"/>
                  <a:pt x="100013" y="393382"/>
                </a:cubicBezTo>
                <a:lnTo>
                  <a:pt x="100965" y="393382"/>
                </a:lnTo>
                <a:close/>
                <a:moveTo>
                  <a:pt x="638175" y="389572"/>
                </a:moveTo>
                <a:lnTo>
                  <a:pt x="758190" y="389572"/>
                </a:lnTo>
                <a:lnTo>
                  <a:pt x="775335" y="392429"/>
                </a:lnTo>
                <a:cubicBezTo>
                  <a:pt x="825817" y="403860"/>
                  <a:pt x="863917" y="446722"/>
                  <a:pt x="870585" y="498157"/>
                </a:cubicBezTo>
                <a:cubicBezTo>
                  <a:pt x="873442" y="519112"/>
                  <a:pt x="874395" y="540067"/>
                  <a:pt x="874395" y="561974"/>
                </a:cubicBezTo>
                <a:lnTo>
                  <a:pt x="836295" y="561974"/>
                </a:lnTo>
                <a:cubicBezTo>
                  <a:pt x="836295" y="541019"/>
                  <a:pt x="834390" y="521017"/>
                  <a:pt x="832485" y="501967"/>
                </a:cubicBezTo>
                <a:cubicBezTo>
                  <a:pt x="827723" y="466724"/>
                  <a:pt x="802005" y="437197"/>
                  <a:pt x="766763" y="429577"/>
                </a:cubicBezTo>
                <a:lnTo>
                  <a:pt x="753427" y="427672"/>
                </a:lnTo>
                <a:lnTo>
                  <a:pt x="711517" y="427672"/>
                </a:lnTo>
                <a:cubicBezTo>
                  <a:pt x="689610" y="411479"/>
                  <a:pt x="664845" y="398144"/>
                  <a:pt x="638175" y="389572"/>
                </a:cubicBezTo>
                <a:close/>
                <a:moveTo>
                  <a:pt x="202882" y="75247"/>
                </a:moveTo>
                <a:cubicBezTo>
                  <a:pt x="222885" y="75247"/>
                  <a:pt x="241935" y="80009"/>
                  <a:pt x="258128" y="89534"/>
                </a:cubicBezTo>
                <a:cubicBezTo>
                  <a:pt x="253365" y="101917"/>
                  <a:pt x="250507" y="115252"/>
                  <a:pt x="248603" y="128587"/>
                </a:cubicBezTo>
                <a:cubicBezTo>
                  <a:pt x="236220" y="118109"/>
                  <a:pt x="220028" y="112395"/>
                  <a:pt x="202882" y="112395"/>
                </a:cubicBezTo>
                <a:cubicBezTo>
                  <a:pt x="161925" y="112395"/>
                  <a:pt x="129540" y="145732"/>
                  <a:pt x="129540" y="185737"/>
                </a:cubicBezTo>
                <a:lnTo>
                  <a:pt x="129540" y="240982"/>
                </a:lnTo>
                <a:cubicBezTo>
                  <a:pt x="129540" y="281940"/>
                  <a:pt x="162878" y="314325"/>
                  <a:pt x="202882" y="314325"/>
                </a:cubicBezTo>
                <a:cubicBezTo>
                  <a:pt x="224790" y="314325"/>
                  <a:pt x="243840" y="305752"/>
                  <a:pt x="257175" y="290512"/>
                </a:cubicBezTo>
                <a:cubicBezTo>
                  <a:pt x="261938" y="302894"/>
                  <a:pt x="267653" y="315277"/>
                  <a:pt x="274320" y="326707"/>
                </a:cubicBezTo>
                <a:cubicBezTo>
                  <a:pt x="255270" y="342900"/>
                  <a:pt x="230505" y="352425"/>
                  <a:pt x="203835" y="352425"/>
                </a:cubicBezTo>
                <a:cubicBezTo>
                  <a:pt x="141922" y="352425"/>
                  <a:pt x="92392" y="302894"/>
                  <a:pt x="91440" y="241935"/>
                </a:cubicBezTo>
                <a:lnTo>
                  <a:pt x="91440" y="186690"/>
                </a:lnTo>
                <a:cubicBezTo>
                  <a:pt x="91440" y="124777"/>
                  <a:pt x="141922" y="75247"/>
                  <a:pt x="202882" y="75247"/>
                </a:cubicBezTo>
                <a:close/>
                <a:moveTo>
                  <a:pt x="687704" y="74295"/>
                </a:moveTo>
                <a:cubicBezTo>
                  <a:pt x="749617" y="74295"/>
                  <a:pt x="799147" y="124778"/>
                  <a:pt x="799147" y="185738"/>
                </a:cubicBezTo>
                <a:lnTo>
                  <a:pt x="799147" y="240982"/>
                </a:lnTo>
                <a:cubicBezTo>
                  <a:pt x="799147" y="302895"/>
                  <a:pt x="748664" y="352425"/>
                  <a:pt x="687704" y="352425"/>
                </a:cubicBezTo>
                <a:cubicBezTo>
                  <a:pt x="656272" y="352425"/>
                  <a:pt x="626745" y="339090"/>
                  <a:pt x="606742" y="317182"/>
                </a:cubicBezTo>
                <a:cubicBezTo>
                  <a:pt x="614362" y="303848"/>
                  <a:pt x="619124" y="289560"/>
                  <a:pt x="622935" y="274320"/>
                </a:cubicBezTo>
                <a:cubicBezTo>
                  <a:pt x="634364" y="298132"/>
                  <a:pt x="659129" y="314325"/>
                  <a:pt x="687704" y="314325"/>
                </a:cubicBezTo>
                <a:cubicBezTo>
                  <a:pt x="727710" y="314325"/>
                  <a:pt x="760095" y="280988"/>
                  <a:pt x="761047" y="240982"/>
                </a:cubicBezTo>
                <a:lnTo>
                  <a:pt x="761047" y="185738"/>
                </a:lnTo>
                <a:cubicBezTo>
                  <a:pt x="761047" y="144780"/>
                  <a:pt x="727710" y="112395"/>
                  <a:pt x="687704" y="112395"/>
                </a:cubicBezTo>
                <a:cubicBezTo>
                  <a:pt x="662939" y="112395"/>
                  <a:pt x="641032" y="124778"/>
                  <a:pt x="627697" y="143828"/>
                </a:cubicBezTo>
                <a:cubicBezTo>
                  <a:pt x="626745" y="127635"/>
                  <a:pt x="624839" y="112395"/>
                  <a:pt x="620077" y="97155"/>
                </a:cubicBezTo>
                <a:cubicBezTo>
                  <a:pt x="639127" y="82867"/>
                  <a:pt x="661987" y="74295"/>
                  <a:pt x="687704" y="74295"/>
                </a:cubicBezTo>
                <a:close/>
                <a:moveTo>
                  <a:pt x="437197" y="38100"/>
                </a:moveTo>
                <a:cubicBezTo>
                  <a:pt x="374332" y="38100"/>
                  <a:pt x="322897" y="89535"/>
                  <a:pt x="322897" y="152400"/>
                </a:cubicBezTo>
                <a:lnTo>
                  <a:pt x="322897" y="228600"/>
                </a:lnTo>
                <a:cubicBezTo>
                  <a:pt x="322897" y="291465"/>
                  <a:pt x="374332" y="342900"/>
                  <a:pt x="437197" y="342900"/>
                </a:cubicBezTo>
                <a:cubicBezTo>
                  <a:pt x="500062" y="342900"/>
                  <a:pt x="551497" y="291465"/>
                  <a:pt x="551497" y="228600"/>
                </a:cubicBezTo>
                <a:lnTo>
                  <a:pt x="551497" y="152400"/>
                </a:lnTo>
                <a:cubicBezTo>
                  <a:pt x="551497" y="89535"/>
                  <a:pt x="500062" y="38100"/>
                  <a:pt x="437197" y="38100"/>
                </a:cubicBezTo>
                <a:close/>
                <a:moveTo>
                  <a:pt x="437197" y="0"/>
                </a:moveTo>
                <a:cubicBezTo>
                  <a:pt x="521017" y="0"/>
                  <a:pt x="589597" y="68580"/>
                  <a:pt x="589597" y="152400"/>
                </a:cubicBezTo>
                <a:lnTo>
                  <a:pt x="589597" y="228600"/>
                </a:lnTo>
                <a:cubicBezTo>
                  <a:pt x="589597" y="312420"/>
                  <a:pt x="521017" y="381000"/>
                  <a:pt x="437197" y="381000"/>
                </a:cubicBezTo>
                <a:cubicBezTo>
                  <a:pt x="353377" y="381000"/>
                  <a:pt x="284797" y="313373"/>
                  <a:pt x="284797" y="228600"/>
                </a:cubicBezTo>
                <a:lnTo>
                  <a:pt x="284797" y="152400"/>
                </a:lnTo>
                <a:cubicBezTo>
                  <a:pt x="284797" y="68580"/>
                  <a:pt x="353377" y="0"/>
                  <a:pt x="437197" y="0"/>
                </a:cubicBezTo>
                <a:close/>
              </a:path>
            </a:pathLst>
          </a:custGeom>
          <a:solidFill>
            <a:schemeClr val="accent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de-DE">
              <a:solidFill>
                <a:schemeClr val="accent2"/>
              </a:solidFill>
            </a:endParaRPr>
          </a:p>
        </p:txBody>
      </p:sp>
      <p:sp>
        <p:nvSpPr>
          <p:cNvPr id="24" name="Rectangle: Rounded Corners 23">
            <a:extLst>
              <a:ext uri="{FF2B5EF4-FFF2-40B4-BE49-F238E27FC236}">
                <a16:creationId xmlns:a16="http://schemas.microsoft.com/office/drawing/2014/main" id="{E01A4EE7-9E47-11EF-4B05-C771B3DC7B4B}"/>
              </a:ext>
            </a:extLst>
          </p:cNvPr>
          <p:cNvSpPr/>
          <p:nvPr/>
        </p:nvSpPr>
        <p:spPr bwMode="gray">
          <a:xfrm>
            <a:off x="-10277631" y="2810935"/>
            <a:ext cx="1963305" cy="517237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lnSpc>
                <a:spcPct val="110000"/>
              </a:lnSpc>
              <a:spcBef>
                <a:spcPts val="600"/>
              </a:spcBef>
            </a:pPr>
            <a:r>
              <a:rPr lang="de-DE" sz="2000" b="0" i="0" dirty="0" err="1">
                <a:solidFill>
                  <a:schemeClr val="tx1"/>
                </a:solidFill>
                <a:effectLst/>
                <a:latin typeface="notosans"/>
              </a:rPr>
              <a:t>composition</a:t>
            </a:r>
            <a:r>
              <a:rPr lang="de-DE" sz="2000" b="0" i="0" dirty="0">
                <a:solidFill>
                  <a:schemeClr val="tx1"/>
                </a:solidFill>
                <a:effectLst/>
                <a:latin typeface="notosans"/>
              </a:rPr>
              <a:t> </a:t>
            </a:r>
            <a:endParaRPr lang="de-DE" sz="2000" b="1" dirty="0">
              <a:solidFill>
                <a:schemeClr val="tx1"/>
              </a:solidFill>
            </a:endParaRPr>
          </a:p>
        </p:txBody>
      </p:sp>
      <p:sp>
        <p:nvSpPr>
          <p:cNvPr id="25" name="Freihandform: Form 124">
            <a:extLst>
              <a:ext uri="{FF2B5EF4-FFF2-40B4-BE49-F238E27FC236}">
                <a16:creationId xmlns:a16="http://schemas.microsoft.com/office/drawing/2014/main" id="{2DD78490-7CC5-E2CC-3111-CC3EE4966E49}"/>
              </a:ext>
            </a:extLst>
          </p:cNvPr>
          <p:cNvSpPr>
            <a:spLocks noChangeAspect="1"/>
          </p:cNvSpPr>
          <p:nvPr/>
        </p:nvSpPr>
        <p:spPr bwMode="gray">
          <a:xfrm>
            <a:off x="-3802070" y="1532536"/>
            <a:ext cx="1084038" cy="1124277"/>
          </a:xfrm>
          <a:custGeom>
            <a:avLst/>
            <a:gdLst>
              <a:gd name="connsiteX0" fmla="*/ 205740 w 686753"/>
              <a:gd name="connsiteY0" fmla="*/ 416242 h 731520"/>
              <a:gd name="connsiteX1" fmla="*/ 341948 w 686753"/>
              <a:gd name="connsiteY1" fmla="*/ 485774 h 731520"/>
              <a:gd name="connsiteX2" fmla="*/ 479108 w 686753"/>
              <a:gd name="connsiteY2" fmla="*/ 416242 h 731520"/>
              <a:gd name="connsiteX3" fmla="*/ 514350 w 686753"/>
              <a:gd name="connsiteY3" fmla="*/ 421957 h 731520"/>
              <a:gd name="connsiteX4" fmla="*/ 676275 w 686753"/>
              <a:gd name="connsiteY4" fmla="*/ 601027 h 731520"/>
              <a:gd name="connsiteX5" fmla="*/ 686753 w 686753"/>
              <a:gd name="connsiteY5" fmla="*/ 731520 h 731520"/>
              <a:gd name="connsiteX6" fmla="*/ 648653 w 686753"/>
              <a:gd name="connsiteY6" fmla="*/ 731520 h 731520"/>
              <a:gd name="connsiteX7" fmla="*/ 641033 w 686753"/>
              <a:gd name="connsiteY7" fmla="*/ 605789 h 731520"/>
              <a:gd name="connsiteX8" fmla="*/ 508635 w 686753"/>
              <a:gd name="connsiteY8" fmla="*/ 459105 h 731520"/>
              <a:gd name="connsiteX9" fmla="*/ 486728 w 686753"/>
              <a:gd name="connsiteY9" fmla="*/ 456247 h 731520"/>
              <a:gd name="connsiteX10" fmla="*/ 343853 w 686753"/>
              <a:gd name="connsiteY10" fmla="*/ 528637 h 731520"/>
              <a:gd name="connsiteX11" fmla="*/ 200978 w 686753"/>
              <a:gd name="connsiteY11" fmla="*/ 456247 h 731520"/>
              <a:gd name="connsiteX12" fmla="*/ 179070 w 686753"/>
              <a:gd name="connsiteY12" fmla="*/ 459105 h 731520"/>
              <a:gd name="connsiteX13" fmla="*/ 46673 w 686753"/>
              <a:gd name="connsiteY13" fmla="*/ 605789 h 731520"/>
              <a:gd name="connsiteX14" fmla="*/ 38100 w 686753"/>
              <a:gd name="connsiteY14" fmla="*/ 731520 h 731520"/>
              <a:gd name="connsiteX15" fmla="*/ 0 w 686753"/>
              <a:gd name="connsiteY15" fmla="*/ 731520 h 731520"/>
              <a:gd name="connsiteX16" fmla="*/ 8573 w 686753"/>
              <a:gd name="connsiteY16" fmla="*/ 601027 h 731520"/>
              <a:gd name="connsiteX17" fmla="*/ 170498 w 686753"/>
              <a:gd name="connsiteY17" fmla="*/ 421957 h 731520"/>
              <a:gd name="connsiteX18" fmla="*/ 171450 w 686753"/>
              <a:gd name="connsiteY18" fmla="*/ 421957 h 731520"/>
              <a:gd name="connsiteX19" fmla="*/ 341947 w 686753"/>
              <a:gd name="connsiteY19" fmla="*/ 38100 h 731520"/>
              <a:gd name="connsiteX20" fmla="*/ 227647 w 686753"/>
              <a:gd name="connsiteY20" fmla="*/ 152400 h 731520"/>
              <a:gd name="connsiteX21" fmla="*/ 227647 w 686753"/>
              <a:gd name="connsiteY21" fmla="*/ 228600 h 731520"/>
              <a:gd name="connsiteX22" fmla="*/ 341947 w 686753"/>
              <a:gd name="connsiteY22" fmla="*/ 342900 h 731520"/>
              <a:gd name="connsiteX23" fmla="*/ 456247 w 686753"/>
              <a:gd name="connsiteY23" fmla="*/ 228600 h 731520"/>
              <a:gd name="connsiteX24" fmla="*/ 456247 w 686753"/>
              <a:gd name="connsiteY24" fmla="*/ 152400 h 731520"/>
              <a:gd name="connsiteX25" fmla="*/ 341947 w 686753"/>
              <a:gd name="connsiteY25" fmla="*/ 38100 h 731520"/>
              <a:gd name="connsiteX26" fmla="*/ 341947 w 686753"/>
              <a:gd name="connsiteY26" fmla="*/ 0 h 731520"/>
              <a:gd name="connsiteX27" fmla="*/ 494347 w 686753"/>
              <a:gd name="connsiteY27" fmla="*/ 152400 h 731520"/>
              <a:gd name="connsiteX28" fmla="*/ 494347 w 686753"/>
              <a:gd name="connsiteY28" fmla="*/ 228600 h 731520"/>
              <a:gd name="connsiteX29" fmla="*/ 341947 w 686753"/>
              <a:gd name="connsiteY29" fmla="*/ 381000 h 731520"/>
              <a:gd name="connsiteX30" fmla="*/ 189547 w 686753"/>
              <a:gd name="connsiteY30" fmla="*/ 228600 h 731520"/>
              <a:gd name="connsiteX31" fmla="*/ 189547 w 686753"/>
              <a:gd name="connsiteY31" fmla="*/ 152400 h 731520"/>
              <a:gd name="connsiteX32" fmla="*/ 341947 w 686753"/>
              <a:gd name="connsiteY32" fmla="*/ 0 h 7315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</a:cxnLst>
            <a:rect l="l" t="t" r="r" b="b"/>
            <a:pathLst>
              <a:path w="686753" h="731520">
                <a:moveTo>
                  <a:pt x="205740" y="416242"/>
                </a:moveTo>
                <a:lnTo>
                  <a:pt x="341948" y="485774"/>
                </a:lnTo>
                <a:lnTo>
                  <a:pt x="479108" y="416242"/>
                </a:lnTo>
                <a:lnTo>
                  <a:pt x="514350" y="421957"/>
                </a:lnTo>
                <a:cubicBezTo>
                  <a:pt x="600075" y="441007"/>
                  <a:pt x="665798" y="513397"/>
                  <a:pt x="676275" y="601027"/>
                </a:cubicBezTo>
                <a:cubicBezTo>
                  <a:pt x="681038" y="641985"/>
                  <a:pt x="683895" y="685800"/>
                  <a:pt x="686753" y="731520"/>
                </a:cubicBezTo>
                <a:lnTo>
                  <a:pt x="648653" y="731520"/>
                </a:lnTo>
                <a:cubicBezTo>
                  <a:pt x="648653" y="687704"/>
                  <a:pt x="645795" y="644842"/>
                  <a:pt x="641033" y="605789"/>
                </a:cubicBezTo>
                <a:cubicBezTo>
                  <a:pt x="631508" y="533399"/>
                  <a:pt x="579120" y="475297"/>
                  <a:pt x="508635" y="459105"/>
                </a:cubicBezTo>
                <a:lnTo>
                  <a:pt x="486728" y="456247"/>
                </a:lnTo>
                <a:lnTo>
                  <a:pt x="343853" y="528637"/>
                </a:lnTo>
                <a:lnTo>
                  <a:pt x="200978" y="456247"/>
                </a:lnTo>
                <a:lnTo>
                  <a:pt x="179070" y="459105"/>
                </a:lnTo>
                <a:cubicBezTo>
                  <a:pt x="108585" y="475297"/>
                  <a:pt x="55245" y="534352"/>
                  <a:pt x="46673" y="605789"/>
                </a:cubicBezTo>
                <a:cubicBezTo>
                  <a:pt x="40958" y="644842"/>
                  <a:pt x="39053" y="687704"/>
                  <a:pt x="38100" y="731520"/>
                </a:cubicBezTo>
                <a:lnTo>
                  <a:pt x="0" y="731520"/>
                </a:lnTo>
                <a:cubicBezTo>
                  <a:pt x="953" y="685800"/>
                  <a:pt x="3810" y="641985"/>
                  <a:pt x="8573" y="601027"/>
                </a:cubicBezTo>
                <a:cubicBezTo>
                  <a:pt x="19050" y="513397"/>
                  <a:pt x="83820" y="441007"/>
                  <a:pt x="170498" y="421957"/>
                </a:cubicBezTo>
                <a:lnTo>
                  <a:pt x="171450" y="421957"/>
                </a:lnTo>
                <a:close/>
                <a:moveTo>
                  <a:pt x="341947" y="38100"/>
                </a:moveTo>
                <a:cubicBezTo>
                  <a:pt x="279082" y="38100"/>
                  <a:pt x="227647" y="89535"/>
                  <a:pt x="227647" y="152400"/>
                </a:cubicBezTo>
                <a:lnTo>
                  <a:pt x="227647" y="228600"/>
                </a:lnTo>
                <a:cubicBezTo>
                  <a:pt x="227647" y="291465"/>
                  <a:pt x="279082" y="342900"/>
                  <a:pt x="341947" y="342900"/>
                </a:cubicBezTo>
                <a:cubicBezTo>
                  <a:pt x="404812" y="342900"/>
                  <a:pt x="456247" y="291465"/>
                  <a:pt x="456247" y="228600"/>
                </a:cubicBezTo>
                <a:lnTo>
                  <a:pt x="456247" y="152400"/>
                </a:lnTo>
                <a:cubicBezTo>
                  <a:pt x="456247" y="89535"/>
                  <a:pt x="404812" y="38100"/>
                  <a:pt x="341947" y="38100"/>
                </a:cubicBezTo>
                <a:close/>
                <a:moveTo>
                  <a:pt x="341947" y="0"/>
                </a:moveTo>
                <a:cubicBezTo>
                  <a:pt x="425767" y="0"/>
                  <a:pt x="494347" y="68580"/>
                  <a:pt x="494347" y="152400"/>
                </a:cubicBezTo>
                <a:lnTo>
                  <a:pt x="494347" y="228600"/>
                </a:lnTo>
                <a:cubicBezTo>
                  <a:pt x="494347" y="312420"/>
                  <a:pt x="425767" y="381000"/>
                  <a:pt x="341947" y="381000"/>
                </a:cubicBezTo>
                <a:cubicBezTo>
                  <a:pt x="258127" y="381000"/>
                  <a:pt x="189547" y="313373"/>
                  <a:pt x="189547" y="228600"/>
                </a:cubicBezTo>
                <a:lnTo>
                  <a:pt x="189547" y="152400"/>
                </a:lnTo>
                <a:cubicBezTo>
                  <a:pt x="189547" y="68580"/>
                  <a:pt x="258127" y="0"/>
                  <a:pt x="341947" y="0"/>
                </a:cubicBezTo>
                <a:close/>
              </a:path>
            </a:pathLst>
          </a:custGeom>
          <a:solidFill>
            <a:schemeClr val="accent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de-DE">
              <a:solidFill>
                <a:schemeClr val="accent2"/>
              </a:solidFill>
            </a:endParaRPr>
          </a:p>
        </p:txBody>
      </p:sp>
      <p:sp>
        <p:nvSpPr>
          <p:cNvPr id="26" name="Grafik 34">
            <a:extLst>
              <a:ext uri="{FF2B5EF4-FFF2-40B4-BE49-F238E27FC236}">
                <a16:creationId xmlns:a16="http://schemas.microsoft.com/office/drawing/2014/main" id="{FE92F9FA-0A08-682A-EDC0-CE69856BD037}"/>
              </a:ext>
            </a:extLst>
          </p:cNvPr>
          <p:cNvSpPr>
            <a:spLocks noChangeAspect="1"/>
          </p:cNvSpPr>
          <p:nvPr/>
        </p:nvSpPr>
        <p:spPr bwMode="gray">
          <a:xfrm>
            <a:off x="-3039552" y="1341503"/>
            <a:ext cx="273000" cy="451500"/>
          </a:xfrm>
          <a:custGeom>
            <a:avLst/>
            <a:gdLst>
              <a:gd name="connsiteX0" fmla="*/ 0 w 273000"/>
              <a:gd name="connsiteY0" fmla="*/ 115500 h 451500"/>
              <a:gd name="connsiteX1" fmla="*/ 136500 w 273000"/>
              <a:gd name="connsiteY1" fmla="*/ 0 h 451500"/>
              <a:gd name="connsiteX2" fmla="*/ 273000 w 273000"/>
              <a:gd name="connsiteY2" fmla="*/ 115500 h 451500"/>
              <a:gd name="connsiteX3" fmla="*/ 182175 w 273000"/>
              <a:gd name="connsiteY3" fmla="*/ 251318 h 451500"/>
              <a:gd name="connsiteX4" fmla="*/ 147000 w 273000"/>
              <a:gd name="connsiteY4" fmla="*/ 264548 h 451500"/>
              <a:gd name="connsiteX5" fmla="*/ 147000 w 273000"/>
              <a:gd name="connsiteY5" fmla="*/ 346500 h 451500"/>
              <a:gd name="connsiteX6" fmla="*/ 126000 w 273000"/>
              <a:gd name="connsiteY6" fmla="*/ 346500 h 451500"/>
              <a:gd name="connsiteX7" fmla="*/ 126000 w 273000"/>
              <a:gd name="connsiteY7" fmla="*/ 249953 h 451500"/>
              <a:gd name="connsiteX8" fmla="*/ 174825 w 273000"/>
              <a:gd name="connsiteY8" fmla="*/ 231683 h 451500"/>
              <a:gd name="connsiteX9" fmla="*/ 252000 w 273000"/>
              <a:gd name="connsiteY9" fmla="*/ 115500 h 451500"/>
              <a:gd name="connsiteX10" fmla="*/ 136500 w 273000"/>
              <a:gd name="connsiteY10" fmla="*/ 21000 h 451500"/>
              <a:gd name="connsiteX11" fmla="*/ 21000 w 273000"/>
              <a:gd name="connsiteY11" fmla="*/ 115500 h 451500"/>
              <a:gd name="connsiteX12" fmla="*/ 21000 w 273000"/>
              <a:gd name="connsiteY12" fmla="*/ 126000 h 451500"/>
              <a:gd name="connsiteX13" fmla="*/ 0 w 273000"/>
              <a:gd name="connsiteY13" fmla="*/ 126000 h 451500"/>
              <a:gd name="connsiteX14" fmla="*/ 0 w 273000"/>
              <a:gd name="connsiteY14" fmla="*/ 115500 h 451500"/>
              <a:gd name="connsiteX15" fmla="*/ 136500 w 273000"/>
              <a:gd name="connsiteY15" fmla="*/ 451500 h 451500"/>
              <a:gd name="connsiteX16" fmla="*/ 157500 w 273000"/>
              <a:gd name="connsiteY16" fmla="*/ 430500 h 451500"/>
              <a:gd name="connsiteX17" fmla="*/ 136500 w 273000"/>
              <a:gd name="connsiteY17" fmla="*/ 409500 h 451500"/>
              <a:gd name="connsiteX18" fmla="*/ 115500 w 273000"/>
              <a:gd name="connsiteY18" fmla="*/ 430500 h 451500"/>
              <a:gd name="connsiteX19" fmla="*/ 136500 w 273000"/>
              <a:gd name="connsiteY19" fmla="*/ 451500 h 451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273000" h="451500">
                <a:moveTo>
                  <a:pt x="0" y="115500"/>
                </a:moveTo>
                <a:cubicBezTo>
                  <a:pt x="0" y="0"/>
                  <a:pt x="75705" y="0"/>
                  <a:pt x="136500" y="0"/>
                </a:cubicBezTo>
                <a:cubicBezTo>
                  <a:pt x="218453" y="0"/>
                  <a:pt x="273000" y="19635"/>
                  <a:pt x="273000" y="115500"/>
                </a:cubicBezTo>
                <a:cubicBezTo>
                  <a:pt x="273000" y="153563"/>
                  <a:pt x="273000" y="217298"/>
                  <a:pt x="182175" y="251318"/>
                </a:cubicBezTo>
                <a:lnTo>
                  <a:pt x="147000" y="264548"/>
                </a:lnTo>
                <a:lnTo>
                  <a:pt x="147000" y="346500"/>
                </a:lnTo>
                <a:lnTo>
                  <a:pt x="126000" y="346500"/>
                </a:lnTo>
                <a:lnTo>
                  <a:pt x="126000" y="249953"/>
                </a:lnTo>
                <a:lnTo>
                  <a:pt x="174825" y="231683"/>
                </a:lnTo>
                <a:cubicBezTo>
                  <a:pt x="246120" y="204750"/>
                  <a:pt x="252000" y="161490"/>
                  <a:pt x="252000" y="115500"/>
                </a:cubicBezTo>
                <a:cubicBezTo>
                  <a:pt x="252000" y="43943"/>
                  <a:pt x="223913" y="21000"/>
                  <a:pt x="136500" y="21000"/>
                </a:cubicBezTo>
                <a:cubicBezTo>
                  <a:pt x="71977" y="21000"/>
                  <a:pt x="21000" y="21000"/>
                  <a:pt x="21000" y="115500"/>
                </a:cubicBezTo>
                <a:lnTo>
                  <a:pt x="21000" y="126000"/>
                </a:lnTo>
                <a:lnTo>
                  <a:pt x="0" y="126000"/>
                </a:lnTo>
                <a:lnTo>
                  <a:pt x="0" y="115500"/>
                </a:lnTo>
                <a:close/>
                <a:moveTo>
                  <a:pt x="136500" y="451500"/>
                </a:moveTo>
                <a:cubicBezTo>
                  <a:pt x="148098" y="451500"/>
                  <a:pt x="157500" y="442098"/>
                  <a:pt x="157500" y="430500"/>
                </a:cubicBezTo>
                <a:cubicBezTo>
                  <a:pt x="157500" y="418902"/>
                  <a:pt x="148098" y="409500"/>
                  <a:pt x="136500" y="409500"/>
                </a:cubicBezTo>
                <a:cubicBezTo>
                  <a:pt x="124902" y="409500"/>
                  <a:pt x="115500" y="418902"/>
                  <a:pt x="115500" y="430500"/>
                </a:cubicBezTo>
                <a:cubicBezTo>
                  <a:pt x="115500" y="442098"/>
                  <a:pt x="124902" y="451500"/>
                  <a:pt x="136500" y="451500"/>
                </a:cubicBezTo>
                <a:close/>
              </a:path>
            </a:pathLst>
          </a:custGeom>
          <a:solidFill>
            <a:schemeClr val="tx1"/>
          </a:solidFill>
          <a:ln w="5159" cap="flat">
            <a:noFill/>
            <a:prstDash val="solid"/>
            <a:miter/>
          </a:ln>
        </p:spPr>
        <p:txBody>
          <a:bodyPr rtlCol="0" anchor="ctr"/>
          <a:lstStyle/>
          <a:p>
            <a:endParaRPr lang="de-DE">
              <a:solidFill>
                <a:schemeClr val="accent2"/>
              </a:solidFill>
            </a:endParaRPr>
          </a:p>
        </p:txBody>
      </p:sp>
      <p:sp>
        <p:nvSpPr>
          <p:cNvPr id="28" name="Grafik 18">
            <a:extLst>
              <a:ext uri="{FF2B5EF4-FFF2-40B4-BE49-F238E27FC236}">
                <a16:creationId xmlns:a16="http://schemas.microsoft.com/office/drawing/2014/main" id="{1525038C-5503-7502-88BF-81026DF8AF08}"/>
              </a:ext>
            </a:extLst>
          </p:cNvPr>
          <p:cNvSpPr>
            <a:spLocks noChangeAspect="1"/>
          </p:cNvSpPr>
          <p:nvPr/>
        </p:nvSpPr>
        <p:spPr bwMode="gray">
          <a:xfrm>
            <a:off x="-2704149" y="1341502"/>
            <a:ext cx="45719" cy="491479"/>
          </a:xfrm>
          <a:custGeom>
            <a:avLst/>
            <a:gdLst>
              <a:gd name="connsiteX0" fmla="*/ 31500 w 42000"/>
              <a:gd name="connsiteY0" fmla="*/ 0 h 451500"/>
              <a:gd name="connsiteX1" fmla="*/ 10500 w 42000"/>
              <a:gd name="connsiteY1" fmla="*/ 0 h 451500"/>
              <a:gd name="connsiteX2" fmla="*/ 10500 w 42000"/>
              <a:gd name="connsiteY2" fmla="*/ 346500 h 451500"/>
              <a:gd name="connsiteX3" fmla="*/ 31500 w 42000"/>
              <a:gd name="connsiteY3" fmla="*/ 346500 h 451500"/>
              <a:gd name="connsiteX4" fmla="*/ 31500 w 42000"/>
              <a:gd name="connsiteY4" fmla="*/ 0 h 451500"/>
              <a:gd name="connsiteX5" fmla="*/ 21000 w 42000"/>
              <a:gd name="connsiteY5" fmla="*/ 451500 h 451500"/>
              <a:gd name="connsiteX6" fmla="*/ 42000 w 42000"/>
              <a:gd name="connsiteY6" fmla="*/ 430500 h 451500"/>
              <a:gd name="connsiteX7" fmla="*/ 21000 w 42000"/>
              <a:gd name="connsiteY7" fmla="*/ 409500 h 451500"/>
              <a:gd name="connsiteX8" fmla="*/ 0 w 42000"/>
              <a:gd name="connsiteY8" fmla="*/ 430500 h 451500"/>
              <a:gd name="connsiteX9" fmla="*/ 21000 w 42000"/>
              <a:gd name="connsiteY9" fmla="*/ 451500 h 451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42000" h="451500">
                <a:moveTo>
                  <a:pt x="31500" y="0"/>
                </a:moveTo>
                <a:lnTo>
                  <a:pt x="10500" y="0"/>
                </a:lnTo>
                <a:lnTo>
                  <a:pt x="10500" y="346500"/>
                </a:lnTo>
                <a:lnTo>
                  <a:pt x="31500" y="346500"/>
                </a:lnTo>
                <a:lnTo>
                  <a:pt x="31500" y="0"/>
                </a:lnTo>
                <a:close/>
                <a:moveTo>
                  <a:pt x="21000" y="451500"/>
                </a:moveTo>
                <a:cubicBezTo>
                  <a:pt x="32598" y="451500"/>
                  <a:pt x="42000" y="442098"/>
                  <a:pt x="42000" y="430500"/>
                </a:cubicBezTo>
                <a:cubicBezTo>
                  <a:pt x="42000" y="418902"/>
                  <a:pt x="32598" y="409500"/>
                  <a:pt x="21000" y="409500"/>
                </a:cubicBezTo>
                <a:cubicBezTo>
                  <a:pt x="9402" y="409500"/>
                  <a:pt x="0" y="418902"/>
                  <a:pt x="0" y="430500"/>
                </a:cubicBezTo>
                <a:cubicBezTo>
                  <a:pt x="0" y="442098"/>
                  <a:pt x="9402" y="451500"/>
                  <a:pt x="21000" y="451500"/>
                </a:cubicBezTo>
                <a:close/>
              </a:path>
            </a:pathLst>
          </a:custGeom>
          <a:solidFill>
            <a:schemeClr val="tx1"/>
          </a:solidFill>
          <a:ln w="5159" cap="flat">
            <a:noFill/>
            <a:prstDash val="solid"/>
            <a:miter/>
          </a:ln>
        </p:spPr>
        <p:txBody>
          <a:bodyPr rtlCol="0" anchor="ctr"/>
          <a:lstStyle/>
          <a:p>
            <a:endParaRPr lang="de-DE">
              <a:solidFill>
                <a:schemeClr val="accent2"/>
              </a:solidFill>
            </a:endParaRPr>
          </a:p>
        </p:txBody>
      </p:sp>
      <p:sp>
        <p:nvSpPr>
          <p:cNvPr id="30" name="Rectangle: Rounded Corners 29">
            <a:extLst>
              <a:ext uri="{FF2B5EF4-FFF2-40B4-BE49-F238E27FC236}">
                <a16:creationId xmlns:a16="http://schemas.microsoft.com/office/drawing/2014/main" id="{46DEA8E2-1BD8-238B-B82A-144D65993C21}"/>
              </a:ext>
            </a:extLst>
          </p:cNvPr>
          <p:cNvSpPr/>
          <p:nvPr/>
        </p:nvSpPr>
        <p:spPr bwMode="gray">
          <a:xfrm>
            <a:off x="-3884705" y="2786133"/>
            <a:ext cx="1963305" cy="517237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lnSpc>
                <a:spcPct val="110000"/>
              </a:lnSpc>
              <a:spcBef>
                <a:spcPts val="600"/>
              </a:spcBef>
            </a:pPr>
            <a:r>
              <a:rPr lang="de-DE" sz="2000" dirty="0">
                <a:solidFill>
                  <a:schemeClr val="tx1"/>
                </a:solidFill>
                <a:latin typeface="notosans"/>
              </a:rPr>
              <a:t>Brainstorming</a:t>
            </a:r>
            <a:endParaRPr lang="de-DE" sz="2000" b="1" dirty="0">
              <a:solidFill>
                <a:schemeClr val="tx1"/>
              </a:solidFill>
            </a:endParaRPr>
          </a:p>
        </p:txBody>
      </p:sp>
      <p:sp>
        <p:nvSpPr>
          <p:cNvPr id="33" name="Titel 1">
            <a:extLst>
              <a:ext uri="{FF2B5EF4-FFF2-40B4-BE49-F238E27FC236}">
                <a16:creationId xmlns:a16="http://schemas.microsoft.com/office/drawing/2014/main" id="{2A69CD1C-C461-491C-7E45-42ADB36C868C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-10870349" y="302951"/>
            <a:ext cx="11518898" cy="1123950"/>
          </a:xfrm>
        </p:spPr>
        <p:txBody>
          <a:bodyPr/>
          <a:lstStyle/>
          <a:p>
            <a:r>
              <a:rPr lang="de-DE" dirty="0">
                <a:solidFill>
                  <a:schemeClr val="accent2"/>
                </a:solidFill>
              </a:rPr>
              <a:t>The Team</a:t>
            </a:r>
          </a:p>
        </p:txBody>
      </p:sp>
      <p:sp>
        <p:nvSpPr>
          <p:cNvPr id="35" name="Textplatzhalter 5">
            <a:extLst>
              <a:ext uri="{FF2B5EF4-FFF2-40B4-BE49-F238E27FC236}">
                <a16:creationId xmlns:a16="http://schemas.microsoft.com/office/drawing/2014/main" id="{0B26461C-7499-E5BE-8169-A6132920B46F}"/>
              </a:ext>
            </a:extLst>
          </p:cNvPr>
          <p:cNvSpPr txBox="1">
            <a:spLocks/>
          </p:cNvSpPr>
          <p:nvPr/>
        </p:nvSpPr>
        <p:spPr bwMode="gray">
          <a:xfrm>
            <a:off x="-4242845" y="3759248"/>
            <a:ext cx="2787241" cy="1294420"/>
          </a:xfrm>
          <a:prstGeom prst="rect">
            <a:avLst/>
          </a:prstGeom>
        </p:spPr>
        <p:txBody>
          <a:bodyPr lIns="0" tIns="0" rIns="0" bIns="0"/>
          <a:lstStyle>
            <a:lvl1pPr marL="18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360000" indent="-179388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●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●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179388" indent="-179388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+mj-lt"/>
              <a:buAutoNum type="arabicPeriod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360363" indent="-180975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+mj-lt"/>
              <a:buAutoNum type="alphaLcPeriod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6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b="0" dirty="0">
                <a:solidFill>
                  <a:schemeClr val="accent2"/>
                </a:solidFill>
                <a:latin typeface="notosans"/>
              </a:rPr>
              <a:t>Our Brainstorming Started at the 1st minute of the </a:t>
            </a:r>
            <a:r>
              <a:rPr lang="en-US" b="0" dirty="0" err="1">
                <a:solidFill>
                  <a:schemeClr val="accent2"/>
                </a:solidFill>
                <a:latin typeface="notosans"/>
              </a:rPr>
              <a:t>C</a:t>
            </a:r>
            <a:r>
              <a:rPr lang="en-US" b="0" i="0" dirty="0" err="1">
                <a:solidFill>
                  <a:schemeClr val="accent2"/>
                </a:solidFill>
                <a:effectLst/>
                <a:latin typeface="notosans"/>
              </a:rPr>
              <a:t>ollabothon</a:t>
            </a:r>
            <a:endParaRPr kumimoji="0" lang="de-DE" sz="1800" b="1" i="0" u="none" strike="noStrike" kern="120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1" name="Foliennummernplatzhalter 4">
            <a:extLst>
              <a:ext uri="{FF2B5EF4-FFF2-40B4-BE49-F238E27FC236}">
                <a16:creationId xmlns:a16="http://schemas.microsoft.com/office/drawing/2014/main" id="{C58346B8-B73E-A305-BE64-0AE8CAE6BA2F}"/>
              </a:ext>
            </a:extLst>
          </p:cNvPr>
          <p:cNvSpPr txBox="1">
            <a:spLocks/>
          </p:cNvSpPr>
          <p:nvPr/>
        </p:nvSpPr>
        <p:spPr bwMode="gray">
          <a:xfrm>
            <a:off x="11280774" y="6453188"/>
            <a:ext cx="574675" cy="404812"/>
          </a:xfrm>
          <a:prstGeom prst="rect">
            <a:avLst/>
          </a:prstGeom>
        </p:spPr>
        <p:txBody>
          <a:bodyPr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CAEFDB47-5D1C-45E7-8BD0-EF74349B00F7}" type="slidenum">
              <a:rPr lang="de-DE" sz="800" smtClean="0">
                <a:solidFill>
                  <a:schemeClr val="accent2"/>
                </a:solidFill>
                <a:latin typeface="Arial"/>
              </a:rPr>
              <a:pPr algn="r"/>
              <a:t>3</a:t>
            </a:fld>
            <a:endParaRPr lang="de-DE" sz="800" b="1" dirty="0">
              <a:solidFill>
                <a:schemeClr val="accent2"/>
              </a:solidFill>
              <a:latin typeface="Arial"/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61E7FAE4-8ADE-E9A8-BCC5-6A9D000C0420}"/>
              </a:ext>
            </a:extLst>
          </p:cNvPr>
          <p:cNvSpPr txBox="1"/>
          <p:nvPr/>
        </p:nvSpPr>
        <p:spPr bwMode="gray">
          <a:xfrm>
            <a:off x="14429671" y="2284655"/>
            <a:ext cx="6536562" cy="1248363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l">
              <a:lnSpc>
                <a:spcPct val="110000"/>
              </a:lnSpc>
              <a:spcBef>
                <a:spcPts val="600"/>
              </a:spcBef>
              <a:buClr>
                <a:schemeClr val="accent2"/>
              </a:buClr>
              <a:buSzPct val="110000"/>
            </a:pPr>
            <a:r>
              <a:rPr lang="en-US" sz="3200" dirty="0">
                <a:solidFill>
                  <a:schemeClr val="accent2"/>
                </a:solidFill>
              </a:rPr>
              <a:t>offer a platform for shared family spending</a:t>
            </a:r>
          </a:p>
        </p:txBody>
      </p:sp>
      <p:sp>
        <p:nvSpPr>
          <p:cNvPr id="4" name="Textplatzhalter 5">
            <a:extLst>
              <a:ext uri="{FF2B5EF4-FFF2-40B4-BE49-F238E27FC236}">
                <a16:creationId xmlns:a16="http://schemas.microsoft.com/office/drawing/2014/main" id="{8B6EDBF3-B186-2241-04D4-97E575FB2D9F}"/>
              </a:ext>
            </a:extLst>
          </p:cNvPr>
          <p:cNvSpPr txBox="1">
            <a:spLocks/>
          </p:cNvSpPr>
          <p:nvPr/>
        </p:nvSpPr>
        <p:spPr bwMode="gray">
          <a:xfrm>
            <a:off x="-10281015" y="3759248"/>
            <a:ext cx="2787241" cy="1294420"/>
          </a:xfrm>
          <a:prstGeom prst="rect">
            <a:avLst/>
          </a:prstGeom>
        </p:spPr>
        <p:txBody>
          <a:bodyPr lIns="0" tIns="0" rIns="0" bIns="0"/>
          <a:lstStyle>
            <a:lvl1pPr marL="18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360000" indent="-179388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●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●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179388" indent="-179388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+mj-lt"/>
              <a:buAutoNum type="arabicPeriod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360363" indent="-180975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+mj-lt"/>
              <a:buAutoNum type="alphaLcPeriod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6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b="0" dirty="0">
                <a:solidFill>
                  <a:schemeClr val="accent2"/>
                </a:solidFill>
                <a:latin typeface="notosans"/>
              </a:rPr>
              <a:t>3</a:t>
            </a:r>
            <a:r>
              <a:rPr lang="en-US" b="0" i="0" dirty="0">
                <a:solidFill>
                  <a:schemeClr val="accent2"/>
                </a:solidFill>
                <a:effectLst/>
                <a:latin typeface="notosans"/>
              </a:rPr>
              <a:t> interns that met at the </a:t>
            </a:r>
            <a:r>
              <a:rPr lang="en-US" b="0" dirty="0" err="1">
                <a:solidFill>
                  <a:schemeClr val="accent2"/>
                </a:solidFill>
                <a:latin typeface="notosans"/>
              </a:rPr>
              <a:t>C</a:t>
            </a:r>
            <a:r>
              <a:rPr lang="en-US" b="0" i="0" dirty="0" err="1">
                <a:solidFill>
                  <a:schemeClr val="accent2"/>
                </a:solidFill>
                <a:effectLst/>
                <a:latin typeface="notosans"/>
              </a:rPr>
              <a:t>ollabothon</a:t>
            </a:r>
            <a:r>
              <a:rPr lang="en-US" b="0" i="0" dirty="0">
                <a:solidFill>
                  <a:schemeClr val="accent2"/>
                </a:solidFill>
                <a:effectLst/>
                <a:latin typeface="notosans"/>
              </a:rPr>
              <a:t> </a:t>
            </a:r>
            <a:endParaRPr kumimoji="0" lang="de-DE" sz="1800" b="1" i="0" u="none" strike="noStrike" kern="120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614DA0DB-131B-D62F-EEA0-CF6CA65B01F2}"/>
              </a:ext>
            </a:extLst>
          </p:cNvPr>
          <p:cNvSpPr txBox="1">
            <a:spLocks/>
          </p:cNvSpPr>
          <p:nvPr/>
        </p:nvSpPr>
        <p:spPr>
          <a:xfrm>
            <a:off x="3251684" y="6453188"/>
            <a:ext cx="5689116" cy="404812"/>
          </a:xfrm>
          <a:prstGeom prst="rect">
            <a:avLst/>
          </a:prstGeom>
        </p:spPr>
        <p:txBody>
          <a:bodyPr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800" dirty="0">
                <a:solidFill>
                  <a:schemeClr val="accent2"/>
                </a:solidFill>
                <a:latin typeface="Arial"/>
              </a:rPr>
              <a:t>Commerzbank AG, Anton Mattuschat, GS-TF 13 </a:t>
            </a:r>
            <a:r>
              <a:rPr lang="de-DE" sz="800" dirty="0" err="1">
                <a:solidFill>
                  <a:schemeClr val="accent2"/>
                </a:solidFill>
                <a:latin typeface="Arial"/>
              </a:rPr>
              <a:t>Operations</a:t>
            </a:r>
            <a:r>
              <a:rPr lang="de-DE" sz="800" dirty="0">
                <a:solidFill>
                  <a:schemeClr val="accent2"/>
                </a:solidFill>
                <a:latin typeface="Arial"/>
              </a:rPr>
              <a:t> &amp; Monitoring </a:t>
            </a:r>
          </a:p>
        </p:txBody>
      </p:sp>
    </p:spTree>
    <p:extLst>
      <p:ext uri="{BB962C8B-B14F-4D97-AF65-F5344CB8AC3E}">
        <p14:creationId xmlns:p14="http://schemas.microsoft.com/office/powerpoint/2010/main" val="425016710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871FDBC-F6A8-944E-21DE-6207A40FBE8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C62A6E7-389E-4E89-A786-2259640CCAF9}" type="datetime1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.10.2023</a:t>
            </a:fld>
            <a:endParaRPr kumimoji="0" lang="de-DE" sz="800" b="0" i="0" u="none" strike="noStrike" kern="1200" cap="none" spc="0" normalizeH="0" baseline="0" noProof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A9321449-EF54-C75E-DB7C-3191511DC4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6550" y="12700"/>
            <a:ext cx="11518898" cy="1123950"/>
          </a:xfrm>
        </p:spPr>
        <p:txBody>
          <a:bodyPr/>
          <a:lstStyle/>
          <a:p>
            <a:pPr algn="ctr"/>
            <a:r>
              <a:rPr lang="de-DE" dirty="0">
                <a:solidFill>
                  <a:schemeClr val="accent2"/>
                </a:solidFill>
              </a:rPr>
              <a:t>The </a:t>
            </a:r>
            <a:r>
              <a:rPr lang="en-US" dirty="0">
                <a:solidFill>
                  <a:schemeClr val="accent2"/>
                </a:solidFill>
              </a:rPr>
              <a:t>Idea</a:t>
            </a:r>
          </a:p>
        </p:txBody>
      </p:sp>
      <p:pic>
        <p:nvPicPr>
          <p:cNvPr id="13" name="Picture Placeholder 28">
            <a:extLst>
              <a:ext uri="{FF2B5EF4-FFF2-40B4-BE49-F238E27FC236}">
                <a16:creationId xmlns:a16="http://schemas.microsoft.com/office/drawing/2014/main" id="{5F3E8D33-8072-C713-2096-2A8C661415B2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62714" t="-101819" r="-62714" b="-101819"/>
          <a:stretch/>
        </p:blipFill>
        <p:spPr bwMode="gray">
          <a:xfrm>
            <a:off x="13500529" y="1136649"/>
            <a:ext cx="3743324" cy="3122025"/>
          </a:xfrm>
          <a:prstGeom prst="rect">
            <a:avLst/>
          </a:prstGeom>
          <a:noFill/>
        </p:spPr>
      </p:pic>
      <p:pic>
        <p:nvPicPr>
          <p:cNvPr id="15" name="Picture Placeholder 26">
            <a:extLst>
              <a:ext uri="{FF2B5EF4-FFF2-40B4-BE49-F238E27FC236}">
                <a16:creationId xmlns:a16="http://schemas.microsoft.com/office/drawing/2014/main" id="{0F4F04E3-8BC1-CDD9-C8F4-A2C093246F46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4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09693" t="-91723" r="-136795" b="-91723"/>
          <a:stretch/>
        </p:blipFill>
        <p:spPr>
          <a:xfrm>
            <a:off x="-426436" y="-1015719"/>
            <a:ext cx="4900681" cy="6600750"/>
          </a:xfr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A052EFE2-49F8-2078-616F-08BA2050B0FF}"/>
              </a:ext>
            </a:extLst>
          </p:cNvPr>
          <p:cNvSpPr txBox="1"/>
          <p:nvPr/>
        </p:nvSpPr>
        <p:spPr bwMode="gray">
          <a:xfrm>
            <a:off x="13481746" y="4531764"/>
            <a:ext cx="3780889" cy="40481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buClr>
                <a:schemeClr val="accent2"/>
              </a:buClr>
              <a:buSzPct val="110000"/>
            </a:pPr>
            <a:r>
              <a:rPr lang="de-DE" sz="3200" b="1" dirty="0">
                <a:solidFill>
                  <a:schemeClr val="accent2"/>
                </a:solidFill>
                <a:latin typeface="+mj-lt"/>
                <a:ea typeface="+mj-ea"/>
                <a:cs typeface="+mj-cs"/>
              </a:rPr>
              <a:t>The Progres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77C7ACA-E286-D480-27CD-0F9B2C742E56}"/>
              </a:ext>
            </a:extLst>
          </p:cNvPr>
          <p:cNvSpPr txBox="1"/>
          <p:nvPr/>
        </p:nvSpPr>
        <p:spPr bwMode="gray">
          <a:xfrm>
            <a:off x="4896565" y="2284656"/>
            <a:ext cx="6536562" cy="1248363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l">
              <a:lnSpc>
                <a:spcPct val="110000"/>
              </a:lnSpc>
              <a:spcBef>
                <a:spcPts val="600"/>
              </a:spcBef>
              <a:buClr>
                <a:schemeClr val="accent2"/>
              </a:buClr>
              <a:buSzPct val="110000"/>
            </a:pPr>
            <a:r>
              <a:rPr lang="en-US" sz="3200" dirty="0">
                <a:solidFill>
                  <a:schemeClr val="accent2"/>
                </a:solidFill>
              </a:rPr>
              <a:t>offer a platform for shared family spending</a:t>
            </a:r>
          </a:p>
        </p:txBody>
      </p:sp>
      <p:pic>
        <p:nvPicPr>
          <p:cNvPr id="22" name="Picture Placeholder 30">
            <a:extLst>
              <a:ext uri="{FF2B5EF4-FFF2-40B4-BE49-F238E27FC236}">
                <a16:creationId xmlns:a16="http://schemas.microsoft.com/office/drawing/2014/main" id="{D07C92EB-2F39-2468-BA34-173D64308DBF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47776" t="-46704" r="-58682" b="-46704"/>
          <a:stretch/>
        </p:blipFill>
        <p:spPr bwMode="gray">
          <a:xfrm>
            <a:off x="17362732" y="662495"/>
            <a:ext cx="3743324" cy="3743324"/>
          </a:xfrm>
          <a:prstGeom prst="rect">
            <a:avLst/>
          </a:prstGeom>
          <a:noFill/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1285DABF-1355-361A-D13E-7051C9C03AEF}"/>
              </a:ext>
            </a:extLst>
          </p:cNvPr>
          <p:cNvSpPr txBox="1"/>
          <p:nvPr/>
        </p:nvSpPr>
        <p:spPr bwMode="gray">
          <a:xfrm>
            <a:off x="17362732" y="4533805"/>
            <a:ext cx="3780889" cy="40481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buClr>
                <a:schemeClr val="accent2"/>
              </a:buClr>
              <a:buSzPct val="110000"/>
            </a:pPr>
            <a:r>
              <a:rPr lang="de-DE" sz="3200" b="1" dirty="0">
                <a:solidFill>
                  <a:schemeClr val="accent2"/>
                </a:solidFill>
                <a:latin typeface="+mj-lt"/>
                <a:ea typeface="+mj-ea"/>
                <a:cs typeface="+mj-cs"/>
              </a:rPr>
              <a:t>The </a:t>
            </a:r>
            <a:r>
              <a:rPr lang="de-DE" sz="3200" b="1" dirty="0" err="1">
                <a:solidFill>
                  <a:schemeClr val="accent2"/>
                </a:solidFill>
                <a:latin typeface="+mj-lt"/>
                <a:ea typeface="+mj-ea"/>
                <a:cs typeface="+mj-cs"/>
              </a:rPr>
              <a:t>Product</a:t>
            </a:r>
            <a:endParaRPr lang="de-DE" sz="3200" b="1" dirty="0">
              <a:solidFill>
                <a:schemeClr val="accent2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E1336C00-B64E-C0AB-5D62-89B3AACB7F33}"/>
              </a:ext>
            </a:extLst>
          </p:cNvPr>
          <p:cNvSpPr txBox="1"/>
          <p:nvPr/>
        </p:nvSpPr>
        <p:spPr bwMode="gray">
          <a:xfrm>
            <a:off x="18555930" y="1987313"/>
            <a:ext cx="5334000" cy="51593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l">
              <a:lnSpc>
                <a:spcPct val="110000"/>
              </a:lnSpc>
              <a:spcBef>
                <a:spcPts val="600"/>
              </a:spcBef>
              <a:buClr>
                <a:schemeClr val="accent2"/>
              </a:buClr>
              <a:buSzPct val="110000"/>
            </a:pPr>
            <a:r>
              <a:rPr lang="en-US" sz="2800" dirty="0">
                <a:solidFill>
                  <a:schemeClr val="accent2"/>
                </a:solidFill>
              </a:rPr>
              <a:t>User Interface and experience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155BA567-A1D8-4174-E809-EA0C98F504C9}"/>
              </a:ext>
            </a:extLst>
          </p:cNvPr>
          <p:cNvSpPr txBox="1"/>
          <p:nvPr/>
        </p:nvSpPr>
        <p:spPr bwMode="gray">
          <a:xfrm>
            <a:off x="15561803" y="1128803"/>
            <a:ext cx="5544253" cy="52956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10000"/>
              </a:lnSpc>
              <a:spcBef>
                <a:spcPts val="600"/>
              </a:spcBef>
              <a:buClr>
                <a:schemeClr val="accent2"/>
              </a:buClr>
              <a:buSzPct val="110000"/>
            </a:pPr>
            <a:r>
              <a:rPr lang="en-US" sz="2800" dirty="0">
                <a:solidFill>
                  <a:schemeClr val="accent2"/>
                </a:solidFill>
              </a:rPr>
              <a:t>Application Logic Development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4ED4F00F-CF42-C6AE-0FED-3621A2879A4A}"/>
              </a:ext>
            </a:extLst>
          </p:cNvPr>
          <p:cNvSpPr txBox="1"/>
          <p:nvPr/>
        </p:nvSpPr>
        <p:spPr bwMode="gray">
          <a:xfrm>
            <a:off x="21496230" y="2899431"/>
            <a:ext cx="4273300" cy="52956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10000"/>
              </a:lnSpc>
              <a:spcBef>
                <a:spcPts val="600"/>
              </a:spcBef>
              <a:buClr>
                <a:schemeClr val="accent2"/>
              </a:buClr>
              <a:buSzPct val="110000"/>
            </a:pPr>
            <a:r>
              <a:rPr lang="de-DE" sz="2800" dirty="0">
                <a:solidFill>
                  <a:schemeClr val="accent2"/>
                </a:solidFill>
              </a:rPr>
              <a:t>Visual Processing </a:t>
            </a:r>
            <a:endParaRPr lang="en-US" sz="2800" dirty="0">
              <a:solidFill>
                <a:schemeClr val="accent2"/>
              </a:solidFill>
            </a:endParaRPr>
          </a:p>
        </p:txBody>
      </p:sp>
      <p:sp>
        <p:nvSpPr>
          <p:cNvPr id="29" name="Foliennummernplatzhalter 4">
            <a:extLst>
              <a:ext uri="{FF2B5EF4-FFF2-40B4-BE49-F238E27FC236}">
                <a16:creationId xmlns:a16="http://schemas.microsoft.com/office/drawing/2014/main" id="{868888F7-81FF-AEE5-9C07-02E62F0A1283}"/>
              </a:ext>
            </a:extLst>
          </p:cNvPr>
          <p:cNvSpPr txBox="1">
            <a:spLocks/>
          </p:cNvSpPr>
          <p:nvPr/>
        </p:nvSpPr>
        <p:spPr bwMode="gray">
          <a:xfrm>
            <a:off x="11280774" y="6453188"/>
            <a:ext cx="574675" cy="404812"/>
          </a:xfrm>
          <a:prstGeom prst="rect">
            <a:avLst/>
          </a:prstGeom>
        </p:spPr>
        <p:txBody>
          <a:bodyPr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CAEFDB47-5D1C-45E7-8BD0-EF74349B00F7}" type="slidenum">
              <a:rPr lang="de-DE" sz="800" smtClean="0">
                <a:solidFill>
                  <a:schemeClr val="accent2"/>
                </a:solidFill>
                <a:latin typeface="Arial"/>
              </a:rPr>
              <a:pPr algn="r"/>
              <a:t>4</a:t>
            </a:fld>
            <a:endParaRPr lang="de-DE" sz="800" b="1" dirty="0">
              <a:solidFill>
                <a:schemeClr val="accent2"/>
              </a:solidFill>
              <a:latin typeface="Arial"/>
            </a:endParaRPr>
          </a:p>
        </p:txBody>
      </p:sp>
      <p:sp>
        <p:nvSpPr>
          <p:cNvPr id="2" name="Footer Placeholder 3">
            <a:extLst>
              <a:ext uri="{FF2B5EF4-FFF2-40B4-BE49-F238E27FC236}">
                <a16:creationId xmlns:a16="http://schemas.microsoft.com/office/drawing/2014/main" id="{74F61E5C-BD0F-3646-CB9E-D08753B1351B}"/>
              </a:ext>
            </a:extLst>
          </p:cNvPr>
          <p:cNvSpPr txBox="1">
            <a:spLocks/>
          </p:cNvSpPr>
          <p:nvPr/>
        </p:nvSpPr>
        <p:spPr>
          <a:xfrm>
            <a:off x="3251684" y="6453188"/>
            <a:ext cx="5689116" cy="404812"/>
          </a:xfrm>
          <a:prstGeom prst="rect">
            <a:avLst/>
          </a:prstGeom>
        </p:spPr>
        <p:txBody>
          <a:bodyPr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800" dirty="0">
                <a:solidFill>
                  <a:schemeClr val="accent2"/>
                </a:solidFill>
                <a:latin typeface="Arial"/>
              </a:rPr>
              <a:t>Commerzbank AG, Anton Mattuschat, GS-TF 13 </a:t>
            </a:r>
            <a:r>
              <a:rPr lang="de-DE" sz="800" dirty="0" err="1">
                <a:solidFill>
                  <a:schemeClr val="accent2"/>
                </a:solidFill>
                <a:latin typeface="Arial"/>
              </a:rPr>
              <a:t>Operations</a:t>
            </a:r>
            <a:r>
              <a:rPr lang="de-DE" sz="800" dirty="0">
                <a:solidFill>
                  <a:schemeClr val="accent2"/>
                </a:solidFill>
                <a:latin typeface="Arial"/>
              </a:rPr>
              <a:t> &amp; Monitoring </a:t>
            </a:r>
          </a:p>
        </p:txBody>
      </p:sp>
    </p:spTree>
    <p:extLst>
      <p:ext uri="{BB962C8B-B14F-4D97-AF65-F5344CB8AC3E}">
        <p14:creationId xmlns:p14="http://schemas.microsoft.com/office/powerpoint/2010/main" val="340230783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871FDBC-F6A8-944E-21DE-6207A40FBE8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C62A6E7-389E-4E89-A786-2259640CCAF9}" type="datetime1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.10.2023</a:t>
            </a:fld>
            <a:endParaRPr kumimoji="0" lang="de-DE" sz="800" b="0" i="0" u="none" strike="noStrike" kern="1200" cap="none" spc="0" normalizeH="0" baseline="0" noProof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A9321449-EF54-C75E-DB7C-3191511DC4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6551" y="12700"/>
            <a:ext cx="11518898" cy="1123950"/>
          </a:xfrm>
        </p:spPr>
        <p:txBody>
          <a:bodyPr/>
          <a:lstStyle/>
          <a:p>
            <a:pPr algn="ctr"/>
            <a:r>
              <a:rPr lang="de-DE" dirty="0">
                <a:solidFill>
                  <a:schemeClr val="accent2"/>
                </a:solidFill>
              </a:rPr>
              <a:t>The Progress</a:t>
            </a:r>
          </a:p>
        </p:txBody>
      </p:sp>
      <p:pic>
        <p:nvPicPr>
          <p:cNvPr id="2" name="Picture Placeholder 28">
            <a:extLst>
              <a:ext uri="{FF2B5EF4-FFF2-40B4-BE49-F238E27FC236}">
                <a16:creationId xmlns:a16="http://schemas.microsoft.com/office/drawing/2014/main" id="{9975F0CB-8C84-DEE1-62C5-14EB2DD1FA48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62714" t="-101819" r="-62714" b="-101819"/>
          <a:stretch/>
        </p:blipFill>
        <p:spPr bwMode="gray">
          <a:xfrm>
            <a:off x="-343606" y="-385699"/>
            <a:ext cx="4555078" cy="6135255"/>
          </a:xfrm>
          <a:prstGeom prst="rect">
            <a:avLst/>
          </a:prstGeom>
          <a:noFill/>
        </p:spPr>
      </p:pic>
      <p:pic>
        <p:nvPicPr>
          <p:cNvPr id="6" name="Picture Placeholder 30">
            <a:extLst>
              <a:ext uri="{FF2B5EF4-FFF2-40B4-BE49-F238E27FC236}">
                <a16:creationId xmlns:a16="http://schemas.microsoft.com/office/drawing/2014/main" id="{3D591E09-B659-EC1D-C14B-635ED9EAC627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58708" t="-84566" r="-47750" b="-75938"/>
          <a:stretch/>
        </p:blipFill>
        <p:spPr bwMode="gray">
          <a:xfrm>
            <a:off x="13893688" y="908050"/>
            <a:ext cx="3743324" cy="5041900"/>
          </a:xfrm>
          <a:prstGeom prst="rect">
            <a:avLst/>
          </a:prstGeom>
          <a:noFill/>
        </p:spPr>
      </p:pic>
      <p:pic>
        <p:nvPicPr>
          <p:cNvPr id="12" name="Picture Placeholder 26">
            <a:extLst>
              <a:ext uri="{FF2B5EF4-FFF2-40B4-BE49-F238E27FC236}">
                <a16:creationId xmlns:a16="http://schemas.microsoft.com/office/drawing/2014/main" id="{7D9F8DFB-9B7C-1F8B-4C58-B6DF033BB677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5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09693" t="-91723" r="-136795" b="-91723"/>
          <a:stretch/>
        </p:blipFill>
        <p:spPr>
          <a:xfrm>
            <a:off x="-9264888" y="2105561"/>
            <a:ext cx="3743324" cy="5041900"/>
          </a:xfr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FDD50142-C6D3-D60D-FE43-B9E885D31935}"/>
              </a:ext>
            </a:extLst>
          </p:cNvPr>
          <p:cNvSpPr txBox="1"/>
          <p:nvPr/>
        </p:nvSpPr>
        <p:spPr bwMode="gray">
          <a:xfrm>
            <a:off x="5660877" y="2681929"/>
            <a:ext cx="5334000" cy="51593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l">
              <a:lnSpc>
                <a:spcPct val="110000"/>
              </a:lnSpc>
              <a:spcBef>
                <a:spcPts val="600"/>
              </a:spcBef>
              <a:buClr>
                <a:schemeClr val="accent2"/>
              </a:buClr>
              <a:buSzPct val="110000"/>
            </a:pPr>
            <a:r>
              <a:rPr lang="en-US" sz="2800" dirty="0">
                <a:solidFill>
                  <a:schemeClr val="accent2"/>
                </a:solidFill>
              </a:rPr>
              <a:t>User Interface and experience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929751DC-39F9-59EB-95CD-B6BBE6E24FB7}"/>
              </a:ext>
            </a:extLst>
          </p:cNvPr>
          <p:cNvSpPr txBox="1"/>
          <p:nvPr/>
        </p:nvSpPr>
        <p:spPr bwMode="gray">
          <a:xfrm>
            <a:off x="5058942" y="1825751"/>
            <a:ext cx="5544253" cy="52956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10000"/>
              </a:lnSpc>
              <a:spcBef>
                <a:spcPts val="600"/>
              </a:spcBef>
              <a:buClr>
                <a:schemeClr val="accent2"/>
              </a:buClr>
              <a:buSzPct val="110000"/>
            </a:pPr>
            <a:r>
              <a:rPr lang="en-US" sz="2800" dirty="0">
                <a:solidFill>
                  <a:schemeClr val="accent2"/>
                </a:solidFill>
              </a:rPr>
              <a:t>Application Logic Development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7F03FD22-B73E-C241-0834-B93812A7D8C3}"/>
              </a:ext>
            </a:extLst>
          </p:cNvPr>
          <p:cNvSpPr txBox="1"/>
          <p:nvPr/>
        </p:nvSpPr>
        <p:spPr bwMode="gray">
          <a:xfrm>
            <a:off x="6446769" y="3522161"/>
            <a:ext cx="4273300" cy="52956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10000"/>
              </a:lnSpc>
              <a:spcBef>
                <a:spcPts val="600"/>
              </a:spcBef>
              <a:buClr>
                <a:schemeClr val="accent2"/>
              </a:buClr>
              <a:buSzPct val="110000"/>
            </a:pPr>
            <a:r>
              <a:rPr lang="de-DE" sz="2800" dirty="0">
                <a:solidFill>
                  <a:schemeClr val="accent2"/>
                </a:solidFill>
              </a:rPr>
              <a:t>Visual Processing </a:t>
            </a:r>
            <a:endParaRPr lang="en-US" sz="2800" dirty="0">
              <a:solidFill>
                <a:schemeClr val="accent2"/>
              </a:solidFill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A611C501-D472-0D5D-2A3B-C0F126DB9245}"/>
              </a:ext>
            </a:extLst>
          </p:cNvPr>
          <p:cNvSpPr txBox="1"/>
          <p:nvPr/>
        </p:nvSpPr>
        <p:spPr bwMode="gray">
          <a:xfrm>
            <a:off x="14947686" y="2105561"/>
            <a:ext cx="5378653" cy="13234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4000" dirty="0">
                <a:solidFill>
                  <a:schemeClr val="accent2"/>
                </a:solidFill>
              </a:rPr>
              <a:t>trough teamwork,</a:t>
            </a:r>
          </a:p>
          <a:p>
            <a:r>
              <a:rPr lang="en-US" sz="4000" dirty="0">
                <a:solidFill>
                  <a:schemeClr val="accent2"/>
                </a:solidFill>
              </a:rPr>
              <a:t>	 we achieve goals</a:t>
            </a:r>
          </a:p>
        </p:txBody>
      </p:sp>
      <p:sp>
        <p:nvSpPr>
          <p:cNvPr id="24" name="Foliennummernplatzhalter 4">
            <a:extLst>
              <a:ext uri="{FF2B5EF4-FFF2-40B4-BE49-F238E27FC236}">
                <a16:creationId xmlns:a16="http://schemas.microsoft.com/office/drawing/2014/main" id="{45E97309-0598-2016-B8CE-91230485FB45}"/>
              </a:ext>
            </a:extLst>
          </p:cNvPr>
          <p:cNvSpPr txBox="1">
            <a:spLocks/>
          </p:cNvSpPr>
          <p:nvPr/>
        </p:nvSpPr>
        <p:spPr bwMode="gray">
          <a:xfrm>
            <a:off x="11280774" y="6453188"/>
            <a:ext cx="574675" cy="404812"/>
          </a:xfrm>
          <a:prstGeom prst="rect">
            <a:avLst/>
          </a:prstGeom>
        </p:spPr>
        <p:txBody>
          <a:bodyPr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CAEFDB47-5D1C-45E7-8BD0-EF74349B00F7}" type="slidenum">
              <a:rPr lang="de-DE" sz="800" smtClean="0">
                <a:solidFill>
                  <a:schemeClr val="accent2"/>
                </a:solidFill>
                <a:latin typeface="Arial"/>
              </a:rPr>
              <a:pPr algn="r"/>
              <a:t>5</a:t>
            </a:fld>
            <a:endParaRPr lang="de-DE" sz="800" b="1" dirty="0">
              <a:solidFill>
                <a:schemeClr val="accent2"/>
              </a:solidFill>
              <a:latin typeface="Arial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E37B236D-DBF7-7D85-7B82-7FAF28B6F857}"/>
              </a:ext>
            </a:extLst>
          </p:cNvPr>
          <p:cNvSpPr txBox="1"/>
          <p:nvPr/>
        </p:nvSpPr>
        <p:spPr bwMode="gray">
          <a:xfrm>
            <a:off x="-6301214" y="1840282"/>
            <a:ext cx="6536562" cy="1248363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l">
              <a:lnSpc>
                <a:spcPct val="110000"/>
              </a:lnSpc>
              <a:spcBef>
                <a:spcPts val="600"/>
              </a:spcBef>
              <a:buClr>
                <a:schemeClr val="accent2"/>
              </a:buClr>
              <a:buSzPct val="110000"/>
            </a:pPr>
            <a:r>
              <a:rPr lang="en-US" sz="3200" dirty="0">
                <a:solidFill>
                  <a:schemeClr val="accent2"/>
                </a:solidFill>
              </a:rPr>
              <a:t>offer a platform for shared family spending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56EF5FE-0EA1-1190-A7AE-B7C18F775516}"/>
              </a:ext>
            </a:extLst>
          </p:cNvPr>
          <p:cNvSpPr txBox="1">
            <a:spLocks/>
          </p:cNvSpPr>
          <p:nvPr/>
        </p:nvSpPr>
        <p:spPr>
          <a:xfrm>
            <a:off x="3251684" y="6453188"/>
            <a:ext cx="5689116" cy="404812"/>
          </a:xfrm>
          <a:prstGeom prst="rect">
            <a:avLst/>
          </a:prstGeom>
        </p:spPr>
        <p:txBody>
          <a:bodyPr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800" dirty="0">
                <a:solidFill>
                  <a:schemeClr val="accent2"/>
                </a:solidFill>
                <a:latin typeface="Arial"/>
              </a:rPr>
              <a:t>Commerzbank AG, Anton Mattuschat, GS-TF 13 </a:t>
            </a:r>
            <a:r>
              <a:rPr lang="de-DE" sz="800" dirty="0" err="1">
                <a:solidFill>
                  <a:schemeClr val="accent2"/>
                </a:solidFill>
                <a:latin typeface="Arial"/>
              </a:rPr>
              <a:t>Operations</a:t>
            </a:r>
            <a:r>
              <a:rPr lang="de-DE" sz="800" dirty="0">
                <a:solidFill>
                  <a:schemeClr val="accent2"/>
                </a:solidFill>
                <a:latin typeface="Arial"/>
              </a:rPr>
              <a:t> &amp; Monitoring </a:t>
            </a:r>
          </a:p>
        </p:txBody>
      </p:sp>
    </p:spTree>
    <p:extLst>
      <p:ext uri="{BB962C8B-B14F-4D97-AF65-F5344CB8AC3E}">
        <p14:creationId xmlns:p14="http://schemas.microsoft.com/office/powerpoint/2010/main" val="266272619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871FDBC-F6A8-944E-21DE-6207A40FBE8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C62A6E7-389E-4E89-A786-2259640CCAF9}" type="datetime1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.10.2023</a:t>
            </a:fld>
            <a:endParaRPr kumimoji="0" lang="de-DE" sz="800" b="0" i="0" u="none" strike="noStrike" kern="120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A9321449-EF54-C75E-DB7C-3191511DC4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6550" y="12700"/>
            <a:ext cx="11518898" cy="1123950"/>
          </a:xfrm>
        </p:spPr>
        <p:txBody>
          <a:bodyPr/>
          <a:lstStyle/>
          <a:p>
            <a:pPr algn="ctr"/>
            <a:r>
              <a:rPr lang="de-DE" sz="4000" dirty="0">
                <a:solidFill>
                  <a:schemeClr val="accent2"/>
                </a:solidFill>
              </a:rPr>
              <a:t>The </a:t>
            </a:r>
            <a:r>
              <a:rPr lang="en-US" sz="4000" dirty="0">
                <a:solidFill>
                  <a:schemeClr val="accent2"/>
                </a:solidFill>
              </a:rPr>
              <a:t>Product</a:t>
            </a:r>
          </a:p>
        </p:txBody>
      </p:sp>
      <p:pic>
        <p:nvPicPr>
          <p:cNvPr id="7" name="Picture Placeholder 30">
            <a:extLst>
              <a:ext uri="{FF2B5EF4-FFF2-40B4-BE49-F238E27FC236}">
                <a16:creationId xmlns:a16="http://schemas.microsoft.com/office/drawing/2014/main" id="{98822DB7-150D-B158-D29F-43EF1CB57227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 rotWithShape="1">
          <a:blip r:embed="rId2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58708" t="-84566" r="-47750" b="-75938"/>
          <a:stretch/>
        </p:blipFill>
        <p:spPr>
          <a:xfrm>
            <a:off x="-1" y="250959"/>
            <a:ext cx="3743324" cy="5041900"/>
          </a:xfrm>
        </p:spPr>
      </p:pic>
      <p:sp>
        <p:nvSpPr>
          <p:cNvPr id="22" name="Arrow: Striped Right 21">
            <a:extLst>
              <a:ext uri="{FF2B5EF4-FFF2-40B4-BE49-F238E27FC236}">
                <a16:creationId xmlns:a16="http://schemas.microsoft.com/office/drawing/2014/main" id="{AD467125-C171-2E23-FEA6-8F8DE7024666}"/>
              </a:ext>
            </a:extLst>
          </p:cNvPr>
          <p:cNvSpPr/>
          <p:nvPr/>
        </p:nvSpPr>
        <p:spPr bwMode="gray">
          <a:xfrm rot="10800000">
            <a:off x="14435847" y="-82685"/>
            <a:ext cx="11957859" cy="7023370"/>
          </a:xfrm>
          <a:prstGeom prst="stripedRight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lnSpc>
                <a:spcPct val="110000"/>
              </a:lnSpc>
              <a:spcBef>
                <a:spcPts val="600"/>
              </a:spcBef>
            </a:pPr>
            <a:endParaRPr lang="de-DE" sz="1200" b="1" dirty="0">
              <a:solidFill>
                <a:schemeClr val="bg1"/>
              </a:solidFill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CE82B420-F1B0-FC2B-FB1C-019FB73ED211}"/>
              </a:ext>
            </a:extLst>
          </p:cNvPr>
          <p:cNvSpPr txBox="1"/>
          <p:nvPr/>
        </p:nvSpPr>
        <p:spPr bwMode="gray">
          <a:xfrm>
            <a:off x="4815933" y="2110190"/>
            <a:ext cx="5378653" cy="13234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4000" dirty="0">
                <a:solidFill>
                  <a:schemeClr val="accent2"/>
                </a:solidFill>
              </a:rPr>
              <a:t>trough teamwork,</a:t>
            </a:r>
          </a:p>
          <a:p>
            <a:r>
              <a:rPr lang="en-US" sz="4000" dirty="0">
                <a:solidFill>
                  <a:schemeClr val="accent2"/>
                </a:solidFill>
              </a:rPr>
              <a:t>	 we achieve goals</a:t>
            </a:r>
          </a:p>
        </p:txBody>
      </p:sp>
      <p:sp>
        <p:nvSpPr>
          <p:cNvPr id="25" name="Foliennummernplatzhalter 4">
            <a:extLst>
              <a:ext uri="{FF2B5EF4-FFF2-40B4-BE49-F238E27FC236}">
                <a16:creationId xmlns:a16="http://schemas.microsoft.com/office/drawing/2014/main" id="{D679A3E5-62C0-481A-D260-5797B9A242E1}"/>
              </a:ext>
            </a:extLst>
          </p:cNvPr>
          <p:cNvSpPr txBox="1">
            <a:spLocks/>
          </p:cNvSpPr>
          <p:nvPr/>
        </p:nvSpPr>
        <p:spPr bwMode="gray">
          <a:xfrm>
            <a:off x="11280774" y="6453188"/>
            <a:ext cx="574675" cy="404812"/>
          </a:xfrm>
          <a:prstGeom prst="rect">
            <a:avLst/>
          </a:prstGeom>
        </p:spPr>
        <p:txBody>
          <a:bodyPr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CAEFDB47-5D1C-45E7-8BD0-EF74349B00F7}" type="slidenum">
              <a:rPr lang="de-DE" sz="800" smtClean="0">
                <a:solidFill>
                  <a:schemeClr val="accent2"/>
                </a:solidFill>
                <a:latin typeface="Arial"/>
              </a:rPr>
              <a:pPr algn="r"/>
              <a:t>6</a:t>
            </a:fld>
            <a:endParaRPr lang="de-DE" sz="800" b="1" dirty="0">
              <a:solidFill>
                <a:schemeClr val="accent2"/>
              </a:solidFill>
              <a:latin typeface="Arial"/>
            </a:endParaRPr>
          </a:p>
        </p:txBody>
      </p:sp>
      <p:pic>
        <p:nvPicPr>
          <p:cNvPr id="30" name="Picture Placeholder 28">
            <a:extLst>
              <a:ext uri="{FF2B5EF4-FFF2-40B4-BE49-F238E27FC236}">
                <a16:creationId xmlns:a16="http://schemas.microsoft.com/office/drawing/2014/main" id="{70BDE9D5-7291-4FFA-5B23-E4536460C2B9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62714" t="-101819" r="-62714" b="-101819"/>
          <a:stretch/>
        </p:blipFill>
        <p:spPr bwMode="gray">
          <a:xfrm>
            <a:off x="-8796340" y="2980071"/>
            <a:ext cx="4555078" cy="6135255"/>
          </a:xfrm>
          <a:prstGeom prst="rect">
            <a:avLst/>
          </a:prstGeom>
          <a:noFill/>
        </p:spPr>
      </p:pic>
      <p:sp>
        <p:nvSpPr>
          <p:cNvPr id="31" name="TextBox 30">
            <a:extLst>
              <a:ext uri="{FF2B5EF4-FFF2-40B4-BE49-F238E27FC236}">
                <a16:creationId xmlns:a16="http://schemas.microsoft.com/office/drawing/2014/main" id="{0089399D-7FD3-B856-761A-59C15741C9E4}"/>
              </a:ext>
            </a:extLst>
          </p:cNvPr>
          <p:cNvSpPr txBox="1"/>
          <p:nvPr/>
        </p:nvSpPr>
        <p:spPr bwMode="gray">
          <a:xfrm>
            <a:off x="-10376915" y="4479269"/>
            <a:ext cx="5334000" cy="51593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l">
              <a:lnSpc>
                <a:spcPct val="110000"/>
              </a:lnSpc>
              <a:spcBef>
                <a:spcPts val="600"/>
              </a:spcBef>
              <a:buClr>
                <a:schemeClr val="accent2"/>
              </a:buClr>
              <a:buSzPct val="110000"/>
            </a:pPr>
            <a:r>
              <a:rPr lang="en-US" sz="2800" dirty="0">
                <a:solidFill>
                  <a:schemeClr val="accent2"/>
                </a:solidFill>
              </a:rPr>
              <a:t>User Interface and experience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DB5C1CE1-DFD4-847C-716A-50690AFBA4D0}"/>
              </a:ext>
            </a:extLst>
          </p:cNvPr>
          <p:cNvSpPr txBox="1"/>
          <p:nvPr/>
        </p:nvSpPr>
        <p:spPr bwMode="gray">
          <a:xfrm>
            <a:off x="-6518801" y="3737297"/>
            <a:ext cx="5544253" cy="52956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10000"/>
              </a:lnSpc>
              <a:spcBef>
                <a:spcPts val="600"/>
              </a:spcBef>
              <a:buClr>
                <a:schemeClr val="accent2"/>
              </a:buClr>
              <a:buSzPct val="110000"/>
            </a:pPr>
            <a:r>
              <a:rPr lang="en-US" sz="2800" dirty="0">
                <a:solidFill>
                  <a:schemeClr val="accent2"/>
                </a:solidFill>
              </a:rPr>
              <a:t>Application Logic Development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9B125253-CE2B-FD4B-1587-44C9E51159E2}"/>
              </a:ext>
            </a:extLst>
          </p:cNvPr>
          <p:cNvSpPr txBox="1"/>
          <p:nvPr/>
        </p:nvSpPr>
        <p:spPr bwMode="gray">
          <a:xfrm>
            <a:off x="-11723277" y="5208622"/>
            <a:ext cx="4273300" cy="52956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10000"/>
              </a:lnSpc>
              <a:spcBef>
                <a:spcPts val="600"/>
              </a:spcBef>
              <a:buClr>
                <a:schemeClr val="accent2"/>
              </a:buClr>
              <a:buSzPct val="110000"/>
            </a:pPr>
            <a:r>
              <a:rPr lang="de-DE" sz="2800" dirty="0">
                <a:solidFill>
                  <a:schemeClr val="accent2"/>
                </a:solidFill>
              </a:rPr>
              <a:t>Visual Processing </a:t>
            </a:r>
            <a:endParaRPr lang="en-US" sz="2800" dirty="0">
              <a:solidFill>
                <a:schemeClr val="accent2"/>
              </a:solidFill>
            </a:endParaRPr>
          </a:p>
        </p:txBody>
      </p:sp>
      <p:sp>
        <p:nvSpPr>
          <p:cNvPr id="2" name="Footer Placeholder 3">
            <a:extLst>
              <a:ext uri="{FF2B5EF4-FFF2-40B4-BE49-F238E27FC236}">
                <a16:creationId xmlns:a16="http://schemas.microsoft.com/office/drawing/2014/main" id="{31221D89-2B54-7573-6BBB-31FA575B51B0}"/>
              </a:ext>
            </a:extLst>
          </p:cNvPr>
          <p:cNvSpPr txBox="1">
            <a:spLocks/>
          </p:cNvSpPr>
          <p:nvPr/>
        </p:nvSpPr>
        <p:spPr>
          <a:xfrm>
            <a:off x="3251684" y="6453188"/>
            <a:ext cx="5689116" cy="404812"/>
          </a:xfrm>
          <a:prstGeom prst="rect">
            <a:avLst/>
          </a:prstGeom>
        </p:spPr>
        <p:txBody>
          <a:bodyPr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800" dirty="0">
                <a:solidFill>
                  <a:schemeClr val="accent2"/>
                </a:solidFill>
                <a:latin typeface="Arial"/>
              </a:rPr>
              <a:t>Commerzbank AG, Anton Mattuschat, GS-TF 13 </a:t>
            </a:r>
            <a:r>
              <a:rPr lang="de-DE" sz="800" dirty="0" err="1">
                <a:solidFill>
                  <a:schemeClr val="accent2"/>
                </a:solidFill>
                <a:latin typeface="Arial"/>
              </a:rPr>
              <a:t>Operations</a:t>
            </a:r>
            <a:r>
              <a:rPr lang="de-DE" sz="800" dirty="0">
                <a:solidFill>
                  <a:schemeClr val="accent2"/>
                </a:solidFill>
                <a:latin typeface="Arial"/>
              </a:rPr>
              <a:t> &amp; Monitoring </a:t>
            </a:r>
          </a:p>
        </p:txBody>
      </p:sp>
    </p:spTree>
    <p:extLst>
      <p:ext uri="{BB962C8B-B14F-4D97-AF65-F5344CB8AC3E}">
        <p14:creationId xmlns:p14="http://schemas.microsoft.com/office/powerpoint/2010/main" val="61716893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>
            <a:extLst>
              <a:ext uri="{FF2B5EF4-FFF2-40B4-BE49-F238E27FC236}">
                <a16:creationId xmlns:a16="http://schemas.microsoft.com/office/drawing/2014/main" id="{19D31D33-8F69-4076-8315-C2ADBEFD67C1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dirty="0"/>
              <a:t>Live </a:t>
            </a:r>
            <a:r>
              <a:rPr lang="en-US" dirty="0"/>
              <a:t>Presentation</a:t>
            </a:r>
            <a:br>
              <a:rPr lang="de-DE" dirty="0"/>
            </a:br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FAB848E1-3F9F-4F30-B3F0-228433C9D7E0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9FBF27DE-F590-464B-B301-18E50634CF2D}" type="datetime1">
              <a:rPr lang="de-DE" noProof="0" smtClean="0"/>
              <a:pPr/>
              <a:t>22.10.2023</a:t>
            </a:fld>
            <a:endParaRPr lang="de-DE" noProof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09A8D9F-EC0A-4001-B1BC-B0F3A684C6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CAEFDB47-5D1C-45E7-8BD0-EF74349B00F7}" type="slidenum">
              <a:rPr lang="de-DE" noProof="0" smtClean="0"/>
              <a:pPr/>
              <a:t>7</a:t>
            </a:fld>
            <a:endParaRPr lang="de-DE" noProof="0" dirty="0"/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14C50193-FF5D-8E99-C226-64A7BD53DC5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/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BBAEB136-E2E7-198D-3674-0D07AB72880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004793" y="1815194"/>
            <a:ext cx="6041813" cy="3398519"/>
          </a:xfrm>
          <a:prstGeom prst="rect">
            <a:avLst/>
          </a:prstGeom>
        </p:spPr>
      </p:pic>
      <p:sp>
        <p:nvSpPr>
          <p:cNvPr id="19" name="Arrow: Striped Right 18">
            <a:extLst>
              <a:ext uri="{FF2B5EF4-FFF2-40B4-BE49-F238E27FC236}">
                <a16:creationId xmlns:a16="http://schemas.microsoft.com/office/drawing/2014/main" id="{AD6B8110-2189-C0F6-E204-017704E53882}"/>
              </a:ext>
            </a:extLst>
          </p:cNvPr>
          <p:cNvSpPr/>
          <p:nvPr/>
        </p:nvSpPr>
        <p:spPr bwMode="gray">
          <a:xfrm rot="10800000">
            <a:off x="-17633928" y="-270499"/>
            <a:ext cx="11957859" cy="7023370"/>
          </a:xfrm>
          <a:prstGeom prst="stripedRight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lnSpc>
                <a:spcPct val="110000"/>
              </a:lnSpc>
              <a:spcBef>
                <a:spcPts val="600"/>
              </a:spcBef>
            </a:pPr>
            <a:endParaRPr lang="de-DE" sz="1200" b="1" dirty="0" err="1">
              <a:solidFill>
                <a:schemeClr val="bg1"/>
              </a:solidFill>
            </a:endParaRPr>
          </a:p>
        </p:txBody>
      </p:sp>
      <p:sp>
        <p:nvSpPr>
          <p:cNvPr id="21" name="Footer Placeholder 3">
            <a:extLst>
              <a:ext uri="{FF2B5EF4-FFF2-40B4-BE49-F238E27FC236}">
                <a16:creationId xmlns:a16="http://schemas.microsoft.com/office/drawing/2014/main" id="{6A2ABC5A-E1AD-B422-3288-C5417BC26E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251684" y="6453188"/>
            <a:ext cx="5689116" cy="404812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 dirty="0">
                <a:ln>
                  <a:noFill/>
                </a:ln>
                <a:solidFill>
                  <a:srgbClr val="002E3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mmerzbank AG, Anton Mattuschat, GS-TF 13 </a:t>
            </a:r>
            <a:r>
              <a:rPr kumimoji="0" lang="de-DE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2E3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perations</a:t>
            </a:r>
            <a:r>
              <a:rPr kumimoji="0" lang="de-DE" sz="800" b="0" i="0" u="none" strike="noStrike" kern="1200" cap="none" spc="0" normalizeH="0" baseline="0" noProof="0" dirty="0">
                <a:ln>
                  <a:noFill/>
                </a:ln>
                <a:solidFill>
                  <a:srgbClr val="002E3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&amp; Monitoring </a:t>
            </a:r>
          </a:p>
        </p:txBody>
      </p:sp>
      <p:pic>
        <p:nvPicPr>
          <p:cNvPr id="26" name="Picture Placeholder 30">
            <a:extLst>
              <a:ext uri="{FF2B5EF4-FFF2-40B4-BE49-F238E27FC236}">
                <a16:creationId xmlns:a16="http://schemas.microsoft.com/office/drawing/2014/main" id="{0FDECF1D-3D1D-B232-3788-CF6C99FBE344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58708" t="-84566" r="-47750" b="-75938"/>
          <a:stretch/>
        </p:blipFill>
        <p:spPr>
          <a:xfrm>
            <a:off x="-10618866" y="1123950"/>
            <a:ext cx="3743324" cy="5041900"/>
          </a:xfrm>
          <a:prstGeom prst="rect">
            <a:avLst/>
          </a:prstGeom>
        </p:spPr>
      </p:pic>
      <p:sp>
        <p:nvSpPr>
          <p:cNvPr id="28" name="TextBox 27">
            <a:extLst>
              <a:ext uri="{FF2B5EF4-FFF2-40B4-BE49-F238E27FC236}">
                <a16:creationId xmlns:a16="http://schemas.microsoft.com/office/drawing/2014/main" id="{A781AE81-8BDD-3CD8-C3DE-8ED3987DE02E}"/>
              </a:ext>
            </a:extLst>
          </p:cNvPr>
          <p:cNvSpPr txBox="1"/>
          <p:nvPr/>
        </p:nvSpPr>
        <p:spPr bwMode="gray">
          <a:xfrm>
            <a:off x="-9960400" y="2321461"/>
            <a:ext cx="5378653" cy="13234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4000" dirty="0">
                <a:solidFill>
                  <a:schemeClr val="accent2"/>
                </a:solidFill>
              </a:rPr>
              <a:t>trough teamwork,</a:t>
            </a:r>
          </a:p>
          <a:p>
            <a:r>
              <a:rPr lang="en-US" sz="4000" dirty="0">
                <a:solidFill>
                  <a:schemeClr val="accent2"/>
                </a:solidFill>
              </a:rPr>
              <a:t>	 we achieve goals</a:t>
            </a:r>
          </a:p>
        </p:txBody>
      </p:sp>
      <p:pic>
        <p:nvPicPr>
          <p:cNvPr id="29" name="Picture Placeholder 30">
            <a:extLst>
              <a:ext uri="{FF2B5EF4-FFF2-40B4-BE49-F238E27FC236}">
                <a16:creationId xmlns:a16="http://schemas.microsoft.com/office/drawing/2014/main" id="{01228683-2974-3650-86C3-4C0F71E6AD09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58708" t="-84566" r="-47750" b="-75938"/>
          <a:stretch/>
        </p:blipFill>
        <p:spPr>
          <a:xfrm>
            <a:off x="-12807511" y="105128"/>
            <a:ext cx="3743324" cy="5041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333466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>
            <a:hlinkClick r:id="rId3"/>
            <a:extLst>
              <a:ext uri="{FF2B5EF4-FFF2-40B4-BE49-F238E27FC236}">
                <a16:creationId xmlns:a16="http://schemas.microsoft.com/office/drawing/2014/main" id="{B47784BD-C48A-42B0-48E9-239EAAA72B6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" y="0"/>
            <a:ext cx="12191998" cy="68579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643054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ommerzbank PowerPoint Template 2022">
  <a:themeElements>
    <a:clrScheme name="Commerzbank">
      <a:dk1>
        <a:srgbClr val="002E3C"/>
      </a:dk1>
      <a:lt1>
        <a:sysClr val="window" lastClr="FFFFFF"/>
      </a:lt1>
      <a:dk2>
        <a:srgbClr val="C3CAC8"/>
      </a:dk2>
      <a:lt2>
        <a:srgbClr val="537173"/>
      </a:lt2>
      <a:accent1>
        <a:srgbClr val="002E3C"/>
      </a:accent1>
      <a:accent2>
        <a:srgbClr val="FFD700"/>
      </a:accent2>
      <a:accent3>
        <a:srgbClr val="3A7E8A"/>
      </a:accent3>
      <a:accent4>
        <a:srgbClr val="9B5C2F"/>
      </a:accent4>
      <a:accent5>
        <a:srgbClr val="93C1B4"/>
      </a:accent5>
      <a:accent6>
        <a:srgbClr val="D6C18B"/>
      </a:accent6>
      <a:hlink>
        <a:srgbClr val="00414B"/>
      </a:hlink>
      <a:folHlink>
        <a:srgbClr val="00414B"/>
      </a:folHlink>
    </a:clrScheme>
    <a:fontScheme name="Commerzban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gray">
        <a:ln>
          <a:noFill/>
        </a:ln>
      </a:spPr>
      <a:bodyPr lIns="72000" tIns="72000" rIns="72000" bIns="72000" rtlCol="0" anchor="ctr"/>
      <a:lstStyle>
        <a:defPPr algn="ctr">
          <a:lnSpc>
            <a:spcPct val="110000"/>
          </a:lnSpc>
          <a:spcBef>
            <a:spcPts val="600"/>
          </a:spcBef>
          <a:defRPr sz="1200" b="1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tx1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 anchor="t">
        <a:noAutofit/>
      </a:bodyPr>
      <a:lstStyle>
        <a:defPPr marL="180000" indent="-180000" algn="l">
          <a:lnSpc>
            <a:spcPct val="110000"/>
          </a:lnSpc>
          <a:spcBef>
            <a:spcPts val="600"/>
          </a:spcBef>
          <a:buClr>
            <a:schemeClr val="accent2"/>
          </a:buClr>
          <a:buSzPct val="110000"/>
          <a:buFont typeface="Arial" panose="020B0604020202020204" pitchFamily="34" charset="0"/>
          <a:buChar char="●"/>
          <a:defRPr sz="1200" dirty="0" err="1" smtClean="0"/>
        </a:defPPr>
      </a:lstStyle>
    </a:txDef>
  </a:objectDefaults>
  <a:extraClrSchemeLst/>
  <a:custClrLst>
    <a:custClr name="Ocean-Petrol">
      <a:srgbClr val="002E3C"/>
    </a:custClr>
    <a:custClr name="Ocean-Petrol-Sand 1">
      <a:srgbClr val="304D4A"/>
    </a:custClr>
    <a:custClr name="Ocean-Petrol-Sand 2">
      <a:srgbClr val="537173"/>
    </a:custClr>
    <a:custClr name="Ocean-Petrol-Sand 3">
      <a:srgbClr val="778F8D"/>
    </a:custClr>
    <a:custClr name="Ocean-Petrol-Sand 4">
      <a:srgbClr val="A0AEAC"/>
    </a:custClr>
    <a:custClr name="Ocean-Petrol-Sand 5">
      <a:srgbClr val="C3CAC8"/>
    </a:custClr>
    <a:custClr name="Ocean-Petrol-Sand 6">
      <a:srgbClr val="E0E0DD"/>
    </a:custClr>
    <a:custClr name="Error">
      <a:srgbClr val="DB000F"/>
    </a:custClr>
    <a:custClr name="Warning">
      <a:srgbClr val="F49300"/>
    </a:custClr>
    <a:custClr name="Success">
      <a:srgbClr val="009E39"/>
    </a:custClr>
    <a:custClr name="Coast">
      <a:srgbClr val="3A7E8A"/>
    </a:custClr>
    <a:custClr name="Mint">
      <a:srgbClr val="93C1B4"/>
    </a:custClr>
    <a:custClr name="Pistachio">
      <a:srgbClr val="D5DBB6"/>
    </a:custClr>
    <a:custClr name="Harvest">
      <a:srgbClr val="D6C18B"/>
    </a:custClr>
    <a:custClr name="Maple">
      <a:srgbClr val="BF925E"/>
    </a:custClr>
    <a:custClr name="Clay">
      <a:srgbClr val="9B5C2F"/>
    </a:custClr>
    <a:custClr name="Sand">
      <a:srgbClr val="EBEAE6"/>
    </a:custClr>
  </a:custClrLst>
  <a:extLst>
    <a:ext uri="{05A4C25C-085E-4340-85A3-A5531E510DB2}">
      <thm15:themeFamily xmlns:thm15="http://schemas.microsoft.com/office/thememl/2012/main" name="CB_PPT_Folienbibliothek_16_9_DE_EXP_2022_v8.potx" id="{83F79B53-8A7F-41EA-9A06-4365C28EF257}" vid="{7E959076-20E3-4DB7-8208-DB5C8445B2FC}"/>
    </a:ext>
  </a:extLst>
</a:theme>
</file>

<file path=ppt/theme/theme2.xml><?xml version="1.0" encoding="utf-8"?>
<a:theme xmlns:a="http://schemas.openxmlformats.org/drawingml/2006/main" name="1_Commerzbank PowerPoint Template 2022">
  <a:themeElements>
    <a:clrScheme name="Commerzbank">
      <a:dk1>
        <a:srgbClr val="002E3C"/>
      </a:dk1>
      <a:lt1>
        <a:sysClr val="window" lastClr="FFFFFF"/>
      </a:lt1>
      <a:dk2>
        <a:srgbClr val="C3CAC8"/>
      </a:dk2>
      <a:lt2>
        <a:srgbClr val="537173"/>
      </a:lt2>
      <a:accent1>
        <a:srgbClr val="002E3C"/>
      </a:accent1>
      <a:accent2>
        <a:srgbClr val="FFD700"/>
      </a:accent2>
      <a:accent3>
        <a:srgbClr val="3A7E8A"/>
      </a:accent3>
      <a:accent4>
        <a:srgbClr val="9B5C2F"/>
      </a:accent4>
      <a:accent5>
        <a:srgbClr val="93C1B4"/>
      </a:accent5>
      <a:accent6>
        <a:srgbClr val="D6C18B"/>
      </a:accent6>
      <a:hlink>
        <a:srgbClr val="00414B"/>
      </a:hlink>
      <a:folHlink>
        <a:srgbClr val="00414B"/>
      </a:folHlink>
    </a:clrScheme>
    <a:fontScheme name="Commerzban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gray">
        <a:ln>
          <a:noFill/>
        </a:ln>
      </a:spPr>
      <a:bodyPr lIns="72000" tIns="72000" rIns="72000" bIns="72000" rtlCol="0" anchor="ctr"/>
      <a:lstStyle>
        <a:defPPr algn="ctr">
          <a:lnSpc>
            <a:spcPct val="110000"/>
          </a:lnSpc>
          <a:spcBef>
            <a:spcPts val="600"/>
          </a:spcBef>
          <a:defRPr sz="1200" b="1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tx1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 anchor="t">
        <a:noAutofit/>
      </a:bodyPr>
      <a:lstStyle>
        <a:defPPr marL="180000" indent="-180000" algn="l">
          <a:lnSpc>
            <a:spcPct val="110000"/>
          </a:lnSpc>
          <a:spcBef>
            <a:spcPts val="600"/>
          </a:spcBef>
          <a:buClr>
            <a:schemeClr val="accent2"/>
          </a:buClr>
          <a:buSzPct val="110000"/>
          <a:buFont typeface="Arial" panose="020B0604020202020204" pitchFamily="34" charset="0"/>
          <a:buChar char="●"/>
          <a:defRPr sz="1200" dirty="0" err="1" smtClean="0"/>
        </a:defPPr>
      </a:lstStyle>
    </a:txDef>
  </a:objectDefaults>
  <a:extraClrSchemeLst/>
  <a:custClrLst>
    <a:custClr name="Ocean-Petrol">
      <a:srgbClr val="002E3C"/>
    </a:custClr>
    <a:custClr name="Ocean-Petrol-Sand 1">
      <a:srgbClr val="304D4A"/>
    </a:custClr>
    <a:custClr name="Ocean-Petrol-Sand 2">
      <a:srgbClr val="537173"/>
    </a:custClr>
    <a:custClr name="Ocean-Petrol-Sand 3">
      <a:srgbClr val="778F8D"/>
    </a:custClr>
    <a:custClr name="Ocean-Petrol-Sand 4">
      <a:srgbClr val="A0AEAC"/>
    </a:custClr>
    <a:custClr name="Ocean-Petrol-Sand 5">
      <a:srgbClr val="C3CAC8"/>
    </a:custClr>
    <a:custClr name="Ocean-Petrol-Sand 6">
      <a:srgbClr val="E0E0DD"/>
    </a:custClr>
    <a:custClr name="Error">
      <a:srgbClr val="DB000F"/>
    </a:custClr>
    <a:custClr name="Warning">
      <a:srgbClr val="F49300"/>
    </a:custClr>
    <a:custClr name="Success">
      <a:srgbClr val="009E39"/>
    </a:custClr>
    <a:custClr name="Coast">
      <a:srgbClr val="3A7E8A"/>
    </a:custClr>
    <a:custClr name="Mint">
      <a:srgbClr val="93C1B4"/>
    </a:custClr>
    <a:custClr name="Pistachio">
      <a:srgbClr val="D5DBB6"/>
    </a:custClr>
    <a:custClr name="Harvest">
      <a:srgbClr val="D6C18B"/>
    </a:custClr>
    <a:custClr name="Maple">
      <a:srgbClr val="BF925E"/>
    </a:custClr>
    <a:custClr name="Clay">
      <a:srgbClr val="9B5C2F"/>
    </a:custClr>
    <a:custClr name="Sand">
      <a:srgbClr val="EBEAE6"/>
    </a:custClr>
  </a:custClrLst>
  <a:extLst>
    <a:ext uri="{05A4C25C-085E-4340-85A3-A5531E510DB2}">
      <thm15:themeFamily xmlns:thm15="http://schemas.microsoft.com/office/thememl/2012/main" name="CB_PPT_Folienbibliothek_16_9_DE_EXP_2022_v8.potx" id="{83F79B53-8A7F-41EA-9A06-4365C28EF257}" vid="{7E959076-20E3-4DB7-8208-DB5C8445B2FC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268</Words>
  <Application>Microsoft Office PowerPoint</Application>
  <PresentationFormat>Widescreen</PresentationFormat>
  <Paragraphs>74</Paragraphs>
  <Slides>8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4" baseType="lpstr">
      <vt:lpstr>Arial</vt:lpstr>
      <vt:lpstr>Calibri</vt:lpstr>
      <vt:lpstr>notosans</vt:lpstr>
      <vt:lpstr>Commerzbank PowerPoint Template 2022</vt:lpstr>
      <vt:lpstr>1_Commerzbank PowerPoint Template 2022</vt:lpstr>
      <vt:lpstr>think-cell Slide</vt:lpstr>
      <vt:lpstr>PowerPoint Presentation</vt:lpstr>
      <vt:lpstr>The Team</vt:lpstr>
      <vt:lpstr>The Team</vt:lpstr>
      <vt:lpstr>The Idea</vt:lpstr>
      <vt:lpstr>The Progress</vt:lpstr>
      <vt:lpstr>The Product</vt:lpstr>
      <vt:lpstr>Live Presentation </vt:lpstr>
      <vt:lpstr>PowerPoint Presentation</vt:lpstr>
    </vt:vector>
  </TitlesOfParts>
  <Company>Commerzbank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attuschat, Anton</dc:creator>
  <cp:lastModifiedBy>Mattuschat, Anton</cp:lastModifiedBy>
  <cp:revision>45</cp:revision>
  <dcterms:created xsi:type="dcterms:W3CDTF">2023-10-20T11:54:23Z</dcterms:created>
  <dcterms:modified xsi:type="dcterms:W3CDTF">2023-10-22T08:00:2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fe4bc684-102f-461d-a6dc-b1e58752f380_Enabled">
    <vt:lpwstr>true</vt:lpwstr>
  </property>
  <property fmtid="{D5CDD505-2E9C-101B-9397-08002B2CF9AE}" pid="3" name="MSIP_Label_fe4bc684-102f-461d-a6dc-b1e58752f380_SetDate">
    <vt:lpwstr>2023-10-20T11:54:24Z</vt:lpwstr>
  </property>
  <property fmtid="{D5CDD505-2E9C-101B-9397-08002B2CF9AE}" pid="4" name="MSIP_Label_fe4bc684-102f-461d-a6dc-b1e58752f380_Method">
    <vt:lpwstr>Standard</vt:lpwstr>
  </property>
  <property fmtid="{D5CDD505-2E9C-101B-9397-08002B2CF9AE}" pid="5" name="MSIP_Label_fe4bc684-102f-461d-a6dc-b1e58752f380_Name">
    <vt:lpwstr>For internal use only</vt:lpwstr>
  </property>
  <property fmtid="{D5CDD505-2E9C-101B-9397-08002B2CF9AE}" pid="6" name="MSIP_Label_fe4bc684-102f-461d-a6dc-b1e58752f380_SiteId">
    <vt:lpwstr>2d75a51b-29e5-45d5-a5c5-5aa979cb6a28</vt:lpwstr>
  </property>
  <property fmtid="{D5CDD505-2E9C-101B-9397-08002B2CF9AE}" pid="7" name="MSIP_Label_fe4bc684-102f-461d-a6dc-b1e58752f380_ActionId">
    <vt:lpwstr>e749ca0f-343e-4d64-a88a-5326950fb8d4</vt:lpwstr>
  </property>
  <property fmtid="{D5CDD505-2E9C-101B-9397-08002B2CF9AE}" pid="8" name="MSIP_Label_fe4bc684-102f-461d-a6dc-b1e58752f380_ContentBits">
    <vt:lpwstr>0</vt:lpwstr>
  </property>
</Properties>
</file>